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6"/>
    <p:sldMasterId id="2147483811" r:id="rId17"/>
    <p:sldMasterId id="2147483858" r:id="rId18"/>
  </p:sldMasterIdLst>
  <p:notesMasterIdLst>
    <p:notesMasterId r:id="rId26"/>
  </p:notesMasterIdLst>
  <p:sldIdLst>
    <p:sldId id="2103813174" r:id="rId19"/>
    <p:sldId id="525" r:id="rId20"/>
    <p:sldId id="262" r:id="rId21"/>
    <p:sldId id="263" r:id="rId22"/>
    <p:sldId id="1344" r:id="rId23"/>
    <p:sldId id="529" r:id="rId24"/>
    <p:sldId id="274"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2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Master" Target="slideMasters/slideMaster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3.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7.xml"/><Relationship Id="rId2" Type="http://schemas.openxmlformats.org/officeDocument/2006/relationships/customXml" Target="../customXml/item2.xml"/><Relationship Id="rId16" Type="http://schemas.openxmlformats.org/officeDocument/2006/relationships/slideMaster" Target="slideMasters/slideMaster1.xml"/><Relationship Id="rId20" Type="http://schemas.openxmlformats.org/officeDocument/2006/relationships/slide" Target="slides/slide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6.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1.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2" qsCatId="simple" csTypeId="urn:microsoft.com/office/officeart/2005/8/colors/colorful2" csCatId="colorful" phldr="1"/>
      <dgm:spPr/>
      <dgm:t>
        <a:bodyPr/>
        <a:lstStyle/>
        <a:p>
          <a:endParaRPr lang="en-US"/>
        </a:p>
      </dgm:t>
    </dgm:pt>
    <dgm:pt modelId="{59F6C864-5B9B-42D8-884B-5F97D3D41565}">
      <dgm:prSet custT="1"/>
      <dgm:spPr/>
      <dgm:t>
        <a:bodyPr/>
        <a:lstStyle/>
        <a:p>
          <a:r>
            <a:rPr lang="en-US" sz="2000" dirty="0"/>
            <a:t>SQL Operating System</a:t>
          </a:r>
        </a:p>
      </dgm:t>
    </dgm:pt>
    <dgm:pt modelId="{61A9F81F-8313-46A9-AF91-BDC685FB7939}" type="parTrans" cxnId="{D86ECE88-9FBD-4B8D-B598-EAFD48F331D5}">
      <dgm:prSet/>
      <dgm:spPr/>
      <dgm:t>
        <a:bodyPr/>
        <a:lstStyle/>
        <a:p>
          <a:endParaRPr lang="en-US"/>
        </a:p>
      </dgm:t>
    </dgm:pt>
    <dgm:pt modelId="{FAEEAAFD-10E4-4D31-9E09-AC9960366E1C}" type="sibTrans" cxnId="{D86ECE88-9FBD-4B8D-B598-EAFD48F331D5}">
      <dgm:prSet/>
      <dgm:spPr/>
      <dgm:t>
        <a:bodyPr/>
        <a:lstStyle/>
        <a:p>
          <a:endParaRPr lang="en-US"/>
        </a:p>
      </dgm:t>
    </dgm:pt>
    <dgm:pt modelId="{4DE331D4-65B5-4482-87BB-F2C83FF63B15}">
      <dgm:prSet custT="1"/>
      <dgm:spPr/>
      <dgm:t>
        <a:bodyPr/>
        <a:lstStyle/>
        <a:p>
          <a:r>
            <a:rPr lang="en-US" sz="2000" dirty="0"/>
            <a:t>Waits and Queues</a:t>
          </a:r>
        </a:p>
      </dgm:t>
    </dgm:pt>
    <dgm:pt modelId="{7D6A6022-527A-4418-8A18-56A5B0EA3107}" type="parTrans" cxnId="{AB362543-AEDE-4D49-A64E-C28B2B54885B}">
      <dgm:prSet/>
      <dgm:spPr/>
      <dgm:t>
        <a:bodyPr/>
        <a:lstStyle/>
        <a:p>
          <a:endParaRPr lang="en-US"/>
        </a:p>
      </dgm:t>
    </dgm:pt>
    <dgm:pt modelId="{04B154D8-6E13-4E6B-8913-5E6E28066FAA}" type="sibTrans" cxnId="{AB362543-AEDE-4D49-A64E-C28B2B54885B}">
      <dgm:prSet/>
      <dgm:spPr/>
      <dgm:t>
        <a:bodyPr/>
        <a:lstStyle/>
        <a:p>
          <a:endParaRPr lang="en-US"/>
        </a:p>
      </dgm:t>
    </dgm:pt>
    <dgm:pt modelId="{536E8374-BBB8-40BB-ACBD-22E490121568}">
      <dgm:prSet custT="1"/>
      <dgm:spPr/>
      <dgm:t>
        <a:bodyPr/>
        <a:lstStyle/>
        <a:p>
          <a:r>
            <a:rPr lang="en-US" sz="2000" dirty="0"/>
            <a:t>Module 2: SQL Server Architecture</a:t>
          </a:r>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4FDDBF9C-A5CF-4EB5-812C-465CBEEE0D2A}">
      <dgm:prSet custT="1"/>
      <dgm:spPr/>
      <dgm:t>
        <a:bodyPr/>
        <a:lstStyle/>
        <a:p>
          <a:r>
            <a:rPr lang="en-US" sz="2000" dirty="0"/>
            <a:t>Module 1: Introduction to Azure SQL</a:t>
          </a:r>
        </a:p>
      </dgm:t>
    </dgm:pt>
    <dgm:pt modelId="{2746F6A5-56FB-46EF-9E1F-99E478DBF140}" type="parTrans" cxnId="{B3B594D9-520D-4784-AC4F-A0AE99CD9647}">
      <dgm:prSet/>
      <dgm:spPr/>
      <dgm:t>
        <a:bodyPr/>
        <a:lstStyle/>
        <a:p>
          <a:endParaRPr lang="en-US"/>
        </a:p>
      </dgm:t>
    </dgm:pt>
    <dgm:pt modelId="{5896482C-0BB4-4581-8CB7-2DEC4ECDE2C5}" type="sibTrans" cxnId="{B3B594D9-520D-4784-AC4F-A0AE99CD9647}">
      <dgm:prSet/>
      <dgm:spPr/>
      <dgm:t>
        <a:bodyPr/>
        <a:lstStyle/>
        <a:p>
          <a:endParaRPr lang="en-US"/>
        </a:p>
      </dgm:t>
    </dgm:pt>
    <dgm:pt modelId="{0F1C5B58-1A17-414E-BBA2-BC85D20E40EF}">
      <dgm:prSet custT="1"/>
      <dgm:spPr/>
      <dgm:t>
        <a:bodyPr/>
        <a:lstStyle/>
        <a:p>
          <a:r>
            <a:rPr lang="en-US" sz="2000" dirty="0"/>
            <a:t>Basic Concepts of Azure SQL</a:t>
          </a:r>
        </a:p>
      </dgm:t>
    </dgm:pt>
    <dgm:pt modelId="{669F93E6-E84B-4665-8DBF-B7AD57B138B5}" type="parTrans" cxnId="{CFE02309-0FE5-435B-8E24-1299975BF92A}">
      <dgm:prSet/>
      <dgm:spPr/>
      <dgm:t>
        <a:bodyPr/>
        <a:lstStyle/>
        <a:p>
          <a:endParaRPr lang="en-US"/>
        </a:p>
      </dgm:t>
    </dgm:pt>
    <dgm:pt modelId="{93439AAE-CC15-4375-8E69-DA2CA84EE1B3}" type="sibTrans" cxnId="{CFE02309-0FE5-435B-8E24-1299975BF92A}">
      <dgm:prSet/>
      <dgm:spPr/>
      <dgm:t>
        <a:bodyPr/>
        <a:lstStyle/>
        <a:p>
          <a:endParaRPr lang="en-US"/>
        </a:p>
      </dgm:t>
    </dgm:pt>
    <dgm:pt modelId="{4F0888B7-6164-46C9-BE0B-0C1EFBA5A6EA}">
      <dgm:prSet custT="1"/>
      <dgm:spPr/>
      <dgm:t>
        <a:bodyPr/>
        <a:lstStyle/>
        <a:p>
          <a:r>
            <a:rPr lang="en-US" sz="2000" dirty="0"/>
            <a:t>SQL Server I/O</a:t>
          </a:r>
        </a:p>
      </dgm:t>
    </dgm:pt>
    <dgm:pt modelId="{FE218177-9FD4-4A67-AFC9-BBC2A346526B}" type="parTrans" cxnId="{EF1FE780-8FD5-43DF-A07D-CF370F96DD84}">
      <dgm:prSet/>
      <dgm:spPr/>
      <dgm:t>
        <a:bodyPr/>
        <a:lstStyle/>
        <a:p>
          <a:endParaRPr lang="en-US"/>
        </a:p>
      </dgm:t>
    </dgm:pt>
    <dgm:pt modelId="{175808E8-40EF-4FCA-99CA-196CA604E703}" type="sibTrans" cxnId="{EF1FE780-8FD5-43DF-A07D-CF370F96DD84}">
      <dgm:prSet/>
      <dgm:spPr/>
      <dgm:t>
        <a:bodyPr/>
        <a:lstStyle/>
        <a:p>
          <a:endParaRPr lang="en-US"/>
        </a:p>
      </dgm:t>
    </dgm:pt>
    <dgm:pt modelId="{66C44D02-C619-4A0D-9C50-BF897DA403BD}">
      <dgm:prSet custT="1"/>
      <dgm:spPr/>
      <dgm:t>
        <a:bodyPr/>
        <a:lstStyle/>
        <a:p>
          <a:r>
            <a:rPr lang="en-US" sz="2000" dirty="0"/>
            <a:t>Azure SQL Databases</a:t>
          </a:r>
        </a:p>
      </dgm:t>
    </dgm:pt>
    <dgm:pt modelId="{DD561A2C-F949-4055-8725-558600029BAF}" type="parTrans" cxnId="{E4305E3E-399F-4A5F-8F59-2E73CCF2349D}">
      <dgm:prSet/>
      <dgm:spPr/>
      <dgm:t>
        <a:bodyPr/>
        <a:lstStyle/>
        <a:p>
          <a:endParaRPr lang="en-US"/>
        </a:p>
      </dgm:t>
    </dgm:pt>
    <dgm:pt modelId="{4BA9D13A-14D0-43AE-A6ED-C8186683D22A}" type="sibTrans" cxnId="{E4305E3E-399F-4A5F-8F59-2E73CCF2349D}">
      <dgm:prSet/>
      <dgm:spPr/>
      <dgm:t>
        <a:bodyPr/>
        <a:lstStyle/>
        <a:p>
          <a:endParaRPr lang="en-US"/>
        </a:p>
      </dgm:t>
    </dgm:pt>
    <dgm:pt modelId="{CFE01A38-B983-458F-BAF1-A25235FBEF65}" type="pres">
      <dgm:prSet presAssocID="{01E1DF0C-A459-49AA-8F8D-34E69D8DBE3E}" presName="Name0" presStyleCnt="0">
        <dgm:presLayoutVars>
          <dgm:dir/>
          <dgm:animLvl val="lvl"/>
          <dgm:resizeHandles val="exact"/>
        </dgm:presLayoutVars>
      </dgm:prSet>
      <dgm:spPr/>
    </dgm:pt>
    <dgm:pt modelId="{470C3B14-0CDF-4654-94BA-48AD741608E9}" type="pres">
      <dgm:prSet presAssocID="{4FDDBF9C-A5CF-4EB5-812C-465CBEEE0D2A}" presName="vertFlow" presStyleCnt="0"/>
      <dgm:spPr/>
    </dgm:pt>
    <dgm:pt modelId="{D912B29A-1298-4CA1-B082-DE2EBCBFC842}" type="pres">
      <dgm:prSet presAssocID="{4FDDBF9C-A5CF-4EB5-812C-465CBEEE0D2A}" presName="header" presStyleLbl="node1" presStyleIdx="0" presStyleCnt="2"/>
      <dgm:spPr/>
    </dgm:pt>
    <dgm:pt modelId="{BCF584E2-F50C-4956-9C0F-A97B50BF67F9}" type="pres">
      <dgm:prSet presAssocID="{669F93E6-E84B-4665-8DBF-B7AD57B138B5}" presName="parTrans" presStyleLbl="sibTrans2D1" presStyleIdx="0" presStyleCnt="5"/>
      <dgm:spPr/>
    </dgm:pt>
    <dgm:pt modelId="{01EBAA62-4162-48AC-B487-5E13A5475365}" type="pres">
      <dgm:prSet presAssocID="{0F1C5B58-1A17-414E-BBA2-BC85D20E40EF}" presName="child" presStyleLbl="alignAccFollowNode1" presStyleIdx="0" presStyleCnt="5">
        <dgm:presLayoutVars>
          <dgm:chMax val="0"/>
          <dgm:bulletEnabled val="1"/>
        </dgm:presLayoutVars>
      </dgm:prSet>
      <dgm:spPr/>
    </dgm:pt>
    <dgm:pt modelId="{F10B6D35-9DDD-4FC3-A9B3-592F3C9A3404}" type="pres">
      <dgm:prSet presAssocID="{93439AAE-CC15-4375-8E69-DA2CA84EE1B3}" presName="sibTrans" presStyleLbl="sibTrans2D1" presStyleIdx="1" presStyleCnt="5"/>
      <dgm:spPr/>
    </dgm:pt>
    <dgm:pt modelId="{70D8A30F-77EC-4296-A31A-59B3BD3FAAA9}" type="pres">
      <dgm:prSet presAssocID="{66C44D02-C619-4A0D-9C50-BF897DA403BD}" presName="child" presStyleLbl="alignAccFollowNode1" presStyleIdx="1" presStyleCnt="5">
        <dgm:presLayoutVars>
          <dgm:chMax val="0"/>
          <dgm:bulletEnabled val="1"/>
        </dgm:presLayoutVars>
      </dgm:prSet>
      <dgm:spPr/>
    </dgm:pt>
    <dgm:pt modelId="{375300E7-6C23-4EB5-B675-86372B21CE37}" type="pres">
      <dgm:prSet presAssocID="{4FDDBF9C-A5CF-4EB5-812C-465CBEEE0D2A}" presName="hSp" presStyleCnt="0"/>
      <dgm:spPr/>
    </dgm:pt>
    <dgm:pt modelId="{EB272D11-D7C1-481B-8C09-D9093500CB93}" type="pres">
      <dgm:prSet presAssocID="{536E8374-BBB8-40BB-ACBD-22E490121568}" presName="vertFlow" presStyleCnt="0"/>
      <dgm:spPr/>
    </dgm:pt>
    <dgm:pt modelId="{79687A28-7933-40FE-B90E-1BF426CEEBE9}" type="pres">
      <dgm:prSet presAssocID="{536E8374-BBB8-40BB-ACBD-22E490121568}" presName="header" presStyleLbl="node1" presStyleIdx="1" presStyleCnt="2"/>
      <dgm:spPr/>
    </dgm:pt>
    <dgm:pt modelId="{0024E3D4-969F-4562-B6F1-432DAB602984}" type="pres">
      <dgm:prSet presAssocID="{61A9F81F-8313-46A9-AF91-BDC685FB7939}" presName="parTrans" presStyleLbl="sibTrans2D1" presStyleIdx="2" presStyleCnt="5"/>
      <dgm:spPr/>
    </dgm:pt>
    <dgm:pt modelId="{A7104F3A-6625-4D19-A900-803AF04F48D1}" type="pres">
      <dgm:prSet presAssocID="{59F6C864-5B9B-42D8-884B-5F97D3D41565}" presName="child" presStyleLbl="alignAccFollowNode1" presStyleIdx="2" presStyleCnt="5">
        <dgm:presLayoutVars>
          <dgm:chMax val="0"/>
          <dgm:bulletEnabled val="1"/>
        </dgm:presLayoutVars>
      </dgm:prSet>
      <dgm:spPr/>
    </dgm:pt>
    <dgm:pt modelId="{B668CADA-40A7-4DA8-8557-13CA6A501E83}" type="pres">
      <dgm:prSet presAssocID="{FAEEAAFD-10E4-4D31-9E09-AC9960366E1C}" presName="sibTrans" presStyleLbl="sibTrans2D1" presStyleIdx="3" presStyleCnt="5"/>
      <dgm:spPr/>
    </dgm:pt>
    <dgm:pt modelId="{106C2846-DE02-40A4-A05F-80CAD2B38434}" type="pres">
      <dgm:prSet presAssocID="{4DE331D4-65B5-4482-87BB-F2C83FF63B15}" presName="child" presStyleLbl="alignAccFollowNode1" presStyleIdx="3" presStyleCnt="5">
        <dgm:presLayoutVars>
          <dgm:chMax val="0"/>
          <dgm:bulletEnabled val="1"/>
        </dgm:presLayoutVars>
      </dgm:prSet>
      <dgm:spPr/>
    </dgm:pt>
    <dgm:pt modelId="{CAD4C354-5DF3-4CED-8B99-E84341440F71}" type="pres">
      <dgm:prSet presAssocID="{04B154D8-6E13-4E6B-8913-5E6E28066FAA}" presName="sibTrans" presStyleLbl="sibTrans2D1" presStyleIdx="4" presStyleCnt="5"/>
      <dgm:spPr/>
    </dgm:pt>
    <dgm:pt modelId="{E2C61590-1DD1-41A9-A70A-3CB0F35DE6F1}" type="pres">
      <dgm:prSet presAssocID="{4F0888B7-6164-46C9-BE0B-0C1EFBA5A6EA}" presName="child" presStyleLbl="alignAccFollowNode1" presStyleIdx="4" presStyleCnt="5">
        <dgm:presLayoutVars>
          <dgm:chMax val="0"/>
          <dgm:bulletEnabled val="1"/>
        </dgm:presLayoutVars>
      </dgm:prSet>
      <dgm:spPr/>
    </dgm:pt>
  </dgm:ptLst>
  <dgm:cxnLst>
    <dgm:cxn modelId="{58207300-1ADD-40A0-96F5-F59F0C27B3E2}" srcId="{01E1DF0C-A459-49AA-8F8D-34E69D8DBE3E}" destId="{536E8374-BBB8-40BB-ACBD-22E490121568}" srcOrd="1" destOrd="0" parTransId="{46BC945B-9D04-47F7-8FCB-0B9C69EF93ED}" sibTransId="{498D443E-B527-4599-8CF9-E9DC179B3CE3}"/>
    <dgm:cxn modelId="{CFE02309-0FE5-435B-8E24-1299975BF92A}" srcId="{4FDDBF9C-A5CF-4EB5-812C-465CBEEE0D2A}" destId="{0F1C5B58-1A17-414E-BBA2-BC85D20E40EF}" srcOrd="0" destOrd="0" parTransId="{669F93E6-E84B-4665-8DBF-B7AD57B138B5}" sibTransId="{93439AAE-CC15-4375-8E69-DA2CA84EE1B3}"/>
    <dgm:cxn modelId="{0B7B360D-EEDF-410C-9184-5D00DF0BCC67}" type="presOf" srcId="{4DE331D4-65B5-4482-87BB-F2C83FF63B15}" destId="{106C2846-DE02-40A4-A05F-80CAD2B38434}" srcOrd="0" destOrd="0" presId="urn:microsoft.com/office/officeart/2005/8/layout/lProcess1"/>
    <dgm:cxn modelId="{39DBC214-B195-4F48-B1A9-AAF9D89EC849}" type="presOf" srcId="{536E8374-BBB8-40BB-ACBD-22E490121568}" destId="{79687A28-7933-40FE-B90E-1BF426CEEBE9}" srcOrd="0" destOrd="0" presId="urn:microsoft.com/office/officeart/2005/8/layout/lProcess1"/>
    <dgm:cxn modelId="{4260201A-E1DF-4673-8961-76549ABF0280}" type="presOf" srcId="{4FDDBF9C-A5CF-4EB5-812C-465CBEEE0D2A}" destId="{D912B29A-1298-4CA1-B082-DE2EBCBFC842}" srcOrd="0" destOrd="0" presId="urn:microsoft.com/office/officeart/2005/8/layout/lProcess1"/>
    <dgm:cxn modelId="{02F9C728-CAB8-4E30-9DFB-6EA225948948}" type="presOf" srcId="{01E1DF0C-A459-49AA-8F8D-34E69D8DBE3E}" destId="{CFE01A38-B983-458F-BAF1-A25235FBEF65}" srcOrd="0" destOrd="0" presId="urn:microsoft.com/office/officeart/2005/8/layout/lProcess1"/>
    <dgm:cxn modelId="{E4305E3E-399F-4A5F-8F59-2E73CCF2349D}" srcId="{4FDDBF9C-A5CF-4EB5-812C-465CBEEE0D2A}" destId="{66C44D02-C619-4A0D-9C50-BF897DA403BD}" srcOrd="1" destOrd="0" parTransId="{DD561A2C-F949-4055-8725-558600029BAF}" sibTransId="{4BA9D13A-14D0-43AE-A6ED-C8186683D22A}"/>
    <dgm:cxn modelId="{1D82663E-5A0D-4830-A727-B304BA1D1941}" type="presOf" srcId="{61A9F81F-8313-46A9-AF91-BDC685FB7939}" destId="{0024E3D4-969F-4562-B6F1-432DAB602984}" srcOrd="0" destOrd="0" presId="urn:microsoft.com/office/officeart/2005/8/layout/lProcess1"/>
    <dgm:cxn modelId="{586B5140-E372-4B44-9969-E54621401E3F}" type="presOf" srcId="{59F6C864-5B9B-42D8-884B-5F97D3D41565}" destId="{A7104F3A-6625-4D19-A900-803AF04F48D1}" srcOrd="0" destOrd="0" presId="urn:microsoft.com/office/officeart/2005/8/layout/lProcess1"/>
    <dgm:cxn modelId="{AB362543-AEDE-4D49-A64E-C28B2B54885B}" srcId="{536E8374-BBB8-40BB-ACBD-22E490121568}" destId="{4DE331D4-65B5-4482-87BB-F2C83FF63B15}" srcOrd="1" destOrd="0" parTransId="{7D6A6022-527A-4418-8A18-56A5B0EA3107}" sibTransId="{04B154D8-6E13-4E6B-8913-5E6E28066FAA}"/>
    <dgm:cxn modelId="{D0621171-41FC-40B1-9B4E-232B4C627696}" type="presOf" srcId="{4F0888B7-6164-46C9-BE0B-0C1EFBA5A6EA}" destId="{E2C61590-1DD1-41A9-A70A-3CB0F35DE6F1}" srcOrd="0" destOrd="0" presId="urn:microsoft.com/office/officeart/2005/8/layout/lProcess1"/>
    <dgm:cxn modelId="{EF1FE780-8FD5-43DF-A07D-CF370F96DD84}" srcId="{536E8374-BBB8-40BB-ACBD-22E490121568}" destId="{4F0888B7-6164-46C9-BE0B-0C1EFBA5A6EA}" srcOrd="2" destOrd="0" parTransId="{FE218177-9FD4-4A67-AFC9-BBC2A346526B}" sibTransId="{175808E8-40EF-4FCA-99CA-196CA604E703}"/>
    <dgm:cxn modelId="{D86ECE88-9FBD-4B8D-B598-EAFD48F331D5}" srcId="{536E8374-BBB8-40BB-ACBD-22E490121568}" destId="{59F6C864-5B9B-42D8-884B-5F97D3D41565}" srcOrd="0" destOrd="0" parTransId="{61A9F81F-8313-46A9-AF91-BDC685FB7939}" sibTransId="{FAEEAAFD-10E4-4D31-9E09-AC9960366E1C}"/>
    <dgm:cxn modelId="{AC0EB989-3C85-4025-BDA3-85347C3D1238}" type="presOf" srcId="{93439AAE-CC15-4375-8E69-DA2CA84EE1B3}" destId="{F10B6D35-9DDD-4FC3-A9B3-592F3C9A3404}" srcOrd="0" destOrd="0" presId="urn:microsoft.com/office/officeart/2005/8/layout/lProcess1"/>
    <dgm:cxn modelId="{FCB6DCA4-1921-4681-A19D-74DD9CBDCF0E}" type="presOf" srcId="{0F1C5B58-1A17-414E-BBA2-BC85D20E40EF}" destId="{01EBAA62-4162-48AC-B487-5E13A5475365}" srcOrd="0" destOrd="0" presId="urn:microsoft.com/office/officeart/2005/8/layout/lProcess1"/>
    <dgm:cxn modelId="{7F3FECB7-81C8-4EEC-86A9-7B6363A5AB42}" type="presOf" srcId="{66C44D02-C619-4A0D-9C50-BF897DA403BD}" destId="{70D8A30F-77EC-4296-A31A-59B3BD3FAAA9}" srcOrd="0" destOrd="0" presId="urn:microsoft.com/office/officeart/2005/8/layout/lProcess1"/>
    <dgm:cxn modelId="{B3B594D9-520D-4784-AC4F-A0AE99CD9647}" srcId="{01E1DF0C-A459-49AA-8F8D-34E69D8DBE3E}" destId="{4FDDBF9C-A5CF-4EB5-812C-465CBEEE0D2A}" srcOrd="0" destOrd="0" parTransId="{2746F6A5-56FB-46EF-9E1F-99E478DBF140}" sibTransId="{5896482C-0BB4-4581-8CB7-2DEC4ECDE2C5}"/>
    <dgm:cxn modelId="{BB8C26DB-C796-44E9-AC01-9C526F76F22C}" type="presOf" srcId="{FAEEAAFD-10E4-4D31-9E09-AC9960366E1C}" destId="{B668CADA-40A7-4DA8-8557-13CA6A501E83}" srcOrd="0" destOrd="0" presId="urn:microsoft.com/office/officeart/2005/8/layout/lProcess1"/>
    <dgm:cxn modelId="{B68B3DDC-07F9-46C7-B951-71B45FB64899}" type="presOf" srcId="{04B154D8-6E13-4E6B-8913-5E6E28066FAA}" destId="{CAD4C354-5DF3-4CED-8B99-E84341440F71}" srcOrd="0" destOrd="0" presId="urn:microsoft.com/office/officeart/2005/8/layout/lProcess1"/>
    <dgm:cxn modelId="{A7E8A8F2-7FDE-4869-AFFA-C632BBAF1B23}" type="presOf" srcId="{669F93E6-E84B-4665-8DBF-B7AD57B138B5}" destId="{BCF584E2-F50C-4956-9C0F-A97B50BF67F9}" srcOrd="0" destOrd="0" presId="urn:microsoft.com/office/officeart/2005/8/layout/lProcess1"/>
    <dgm:cxn modelId="{35FFA5A1-CE18-49AC-9C52-394DA6403D7D}" type="presParOf" srcId="{CFE01A38-B983-458F-BAF1-A25235FBEF65}" destId="{470C3B14-0CDF-4654-94BA-48AD741608E9}" srcOrd="0" destOrd="0" presId="urn:microsoft.com/office/officeart/2005/8/layout/lProcess1"/>
    <dgm:cxn modelId="{FE18A041-E674-4AA1-84DB-FCD119E258B4}" type="presParOf" srcId="{470C3B14-0CDF-4654-94BA-48AD741608E9}" destId="{D912B29A-1298-4CA1-B082-DE2EBCBFC842}" srcOrd="0" destOrd="0" presId="urn:microsoft.com/office/officeart/2005/8/layout/lProcess1"/>
    <dgm:cxn modelId="{B4D77531-714A-4965-8034-1BD4BBCA2A7C}" type="presParOf" srcId="{470C3B14-0CDF-4654-94BA-48AD741608E9}" destId="{BCF584E2-F50C-4956-9C0F-A97B50BF67F9}" srcOrd="1" destOrd="0" presId="urn:microsoft.com/office/officeart/2005/8/layout/lProcess1"/>
    <dgm:cxn modelId="{AFFF54F0-6545-42B5-B48F-9951A56B2790}" type="presParOf" srcId="{470C3B14-0CDF-4654-94BA-48AD741608E9}" destId="{01EBAA62-4162-48AC-B487-5E13A5475365}" srcOrd="2" destOrd="0" presId="urn:microsoft.com/office/officeart/2005/8/layout/lProcess1"/>
    <dgm:cxn modelId="{D1A18BC4-A3C9-4F1B-AD52-5309F6328683}" type="presParOf" srcId="{470C3B14-0CDF-4654-94BA-48AD741608E9}" destId="{F10B6D35-9DDD-4FC3-A9B3-592F3C9A3404}" srcOrd="3" destOrd="0" presId="urn:microsoft.com/office/officeart/2005/8/layout/lProcess1"/>
    <dgm:cxn modelId="{FDAE3D1C-8E93-4E85-9366-79CA7B5514AD}" type="presParOf" srcId="{470C3B14-0CDF-4654-94BA-48AD741608E9}" destId="{70D8A30F-77EC-4296-A31A-59B3BD3FAAA9}" srcOrd="4" destOrd="0" presId="urn:microsoft.com/office/officeart/2005/8/layout/lProcess1"/>
    <dgm:cxn modelId="{86EF64B9-B90D-4B18-A8BE-3A7537C73CAE}" type="presParOf" srcId="{CFE01A38-B983-458F-BAF1-A25235FBEF65}" destId="{375300E7-6C23-4EB5-B675-86372B21CE37}" srcOrd="1" destOrd="0" presId="urn:microsoft.com/office/officeart/2005/8/layout/lProcess1"/>
    <dgm:cxn modelId="{19320A63-5BEB-49DC-B0D4-13337AA6B9E0}" type="presParOf" srcId="{CFE01A38-B983-458F-BAF1-A25235FBEF65}" destId="{EB272D11-D7C1-481B-8C09-D9093500CB93}" srcOrd="2" destOrd="0" presId="urn:microsoft.com/office/officeart/2005/8/layout/lProcess1"/>
    <dgm:cxn modelId="{1424193A-50D3-489A-947E-E946978A64B3}" type="presParOf" srcId="{EB272D11-D7C1-481B-8C09-D9093500CB93}" destId="{79687A28-7933-40FE-B90E-1BF426CEEBE9}" srcOrd="0" destOrd="0" presId="urn:microsoft.com/office/officeart/2005/8/layout/lProcess1"/>
    <dgm:cxn modelId="{D9967D0F-400A-41C4-8BDE-64B5643C8F03}" type="presParOf" srcId="{EB272D11-D7C1-481B-8C09-D9093500CB93}" destId="{0024E3D4-969F-4562-B6F1-432DAB602984}" srcOrd="1" destOrd="0" presId="urn:microsoft.com/office/officeart/2005/8/layout/lProcess1"/>
    <dgm:cxn modelId="{3294DF7E-6162-434A-97E3-3AEA31CAD552}" type="presParOf" srcId="{EB272D11-D7C1-481B-8C09-D9093500CB93}" destId="{A7104F3A-6625-4D19-A900-803AF04F48D1}" srcOrd="2" destOrd="0" presId="urn:microsoft.com/office/officeart/2005/8/layout/lProcess1"/>
    <dgm:cxn modelId="{B8D91EF1-018D-4A7E-AA18-C4EA1EB18D83}" type="presParOf" srcId="{EB272D11-D7C1-481B-8C09-D9093500CB93}" destId="{B668CADA-40A7-4DA8-8557-13CA6A501E83}" srcOrd="3" destOrd="0" presId="urn:microsoft.com/office/officeart/2005/8/layout/lProcess1"/>
    <dgm:cxn modelId="{F157F0CF-82DB-4F1F-ACAB-0CE2D9AB6378}" type="presParOf" srcId="{EB272D11-D7C1-481B-8C09-D9093500CB93}" destId="{106C2846-DE02-40A4-A05F-80CAD2B38434}" srcOrd="4" destOrd="0" presId="urn:microsoft.com/office/officeart/2005/8/layout/lProcess1"/>
    <dgm:cxn modelId="{BAE493C8-FC2F-49C0-AAA6-4575533B1EF6}" type="presParOf" srcId="{EB272D11-D7C1-481B-8C09-D9093500CB93}" destId="{CAD4C354-5DF3-4CED-8B99-E84341440F71}" srcOrd="5" destOrd="0" presId="urn:microsoft.com/office/officeart/2005/8/layout/lProcess1"/>
    <dgm:cxn modelId="{B2553AF7-4C17-45AB-97E2-C5AD5FB06671}" type="presParOf" srcId="{EB272D11-D7C1-481B-8C09-D9093500CB93}" destId="{E2C61590-1DD1-41A9-A70A-3CB0F35DE6F1}"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1" qsCatId="simple" csTypeId="urn:microsoft.com/office/officeart/2005/8/colors/colorful3" csCatId="colorful" phldr="1"/>
      <dgm:spPr/>
      <dgm:t>
        <a:bodyPr/>
        <a:lstStyle/>
        <a:p>
          <a:endParaRPr lang="en-US"/>
        </a:p>
      </dgm:t>
    </dgm:pt>
    <dgm:pt modelId="{C1F4D27E-FFA1-4E3C-8CB1-D287B88F7993}">
      <dgm:prSet custT="1"/>
      <dgm:spPr/>
      <dgm:t>
        <a:bodyPr/>
        <a:lstStyle/>
        <a:p>
          <a:r>
            <a:rPr lang="en-US" sz="2000" dirty="0"/>
            <a:t>Module 3: SQL Server Transactions and Concurrency</a:t>
          </a:r>
        </a:p>
      </dgm:t>
    </dgm:pt>
    <dgm:pt modelId="{627AD5D3-5343-4A6A-8497-1815E9DD24F3}" type="sibTrans" cxnId="{39861C06-9D0D-4686-9DD3-9C05A947ADBA}">
      <dgm:prSet/>
      <dgm:spPr/>
      <dgm:t>
        <a:bodyPr/>
        <a:lstStyle/>
        <a:p>
          <a:endParaRPr lang="en-US"/>
        </a:p>
      </dgm:t>
    </dgm:pt>
    <dgm:pt modelId="{5EC18D1F-2434-4375-8C52-FD441EC3682D}" type="parTrans" cxnId="{39861C06-9D0D-4686-9DD3-9C05A947ADBA}">
      <dgm:prSet/>
      <dgm:spPr/>
      <dgm:t>
        <a:bodyPr/>
        <a:lstStyle/>
        <a:p>
          <a:endParaRPr lang="en-US"/>
        </a:p>
      </dgm:t>
    </dgm:pt>
    <dgm:pt modelId="{97FE6D97-F2BE-45EB-86B4-26ACE34EF4E9}">
      <dgm:prSet custT="1"/>
      <dgm:spPr/>
      <dgm:t>
        <a:bodyPr/>
        <a:lstStyle/>
        <a:p>
          <a:r>
            <a:rPr lang="en-US" sz="2000" dirty="0"/>
            <a:t>SQL Server Transactions</a:t>
          </a:r>
        </a:p>
      </dgm:t>
    </dgm:pt>
    <dgm:pt modelId="{C2ADBC24-38B3-4F0A-AA69-251381257380}" type="sibTrans" cxnId="{CC101BF5-BCCC-47B9-91F5-0C16F6DF2930}">
      <dgm:prSet/>
      <dgm:spPr/>
      <dgm:t>
        <a:bodyPr/>
        <a:lstStyle/>
        <a:p>
          <a:endParaRPr lang="en-US"/>
        </a:p>
      </dgm:t>
    </dgm:pt>
    <dgm:pt modelId="{E1485A84-A6A7-4C1E-917D-70B577E102EA}" type="parTrans" cxnId="{CC101BF5-BCCC-47B9-91F5-0C16F6DF2930}">
      <dgm:prSet/>
      <dgm:spPr/>
      <dgm:t>
        <a:bodyPr/>
        <a:lstStyle/>
        <a:p>
          <a:endParaRPr lang="en-US"/>
        </a:p>
      </dgm:t>
    </dgm:pt>
    <dgm:pt modelId="{840E3605-D617-4ABA-815E-EAFD3358C98B}">
      <dgm:prSet custT="1"/>
      <dgm:spPr/>
      <dgm:t>
        <a:bodyPr/>
        <a:lstStyle/>
        <a:p>
          <a:r>
            <a:rPr lang="en-US" sz="2000" dirty="0"/>
            <a:t>SQL Server Locking</a:t>
          </a:r>
        </a:p>
      </dgm:t>
    </dgm:pt>
    <dgm:pt modelId="{1C2E9AE7-A267-4B97-9577-E502F55D7B99}" type="parTrans" cxnId="{689AE3E5-DD22-4C29-BA2E-03F8B6443C5B}">
      <dgm:prSet/>
      <dgm:spPr/>
      <dgm:t>
        <a:bodyPr/>
        <a:lstStyle/>
        <a:p>
          <a:endParaRPr lang="en-US"/>
        </a:p>
      </dgm:t>
    </dgm:pt>
    <dgm:pt modelId="{356EBAA2-F208-40A3-894C-5E5F87EE16D5}" type="sibTrans" cxnId="{689AE3E5-DD22-4C29-BA2E-03F8B6443C5B}">
      <dgm:prSet/>
      <dgm:spPr/>
      <dgm:t>
        <a:bodyPr/>
        <a:lstStyle/>
        <a:p>
          <a:endParaRPr lang="en-US"/>
        </a:p>
      </dgm:t>
    </dgm:pt>
    <dgm:pt modelId="{776B2B31-5461-40B3-B268-A9BBC4A4A31D}">
      <dgm:prSet custT="1"/>
      <dgm:spPr/>
      <dgm:t>
        <a:bodyPr/>
        <a:lstStyle/>
        <a:p>
          <a:r>
            <a:rPr lang="en-US" sz="2000" dirty="0"/>
            <a:t>Module 4: SQL Server Indexing and Statistics</a:t>
          </a:r>
        </a:p>
      </dgm:t>
    </dgm:pt>
    <dgm:pt modelId="{D5FB47A0-564E-4A4E-A6FF-3D0EF786B3AD}" type="parTrans" cxnId="{44ED103C-923B-4564-AC1C-1B6A6A302E59}">
      <dgm:prSet/>
      <dgm:spPr/>
      <dgm:t>
        <a:bodyPr/>
        <a:lstStyle/>
        <a:p>
          <a:endParaRPr lang="en-US"/>
        </a:p>
      </dgm:t>
    </dgm:pt>
    <dgm:pt modelId="{E8D9AB46-F959-497C-ACAE-258667507765}" type="sibTrans" cxnId="{44ED103C-923B-4564-AC1C-1B6A6A302E59}">
      <dgm:prSet/>
      <dgm:spPr/>
      <dgm:t>
        <a:bodyPr/>
        <a:lstStyle/>
        <a:p>
          <a:endParaRPr lang="en-US"/>
        </a:p>
      </dgm:t>
    </dgm:pt>
    <dgm:pt modelId="{E674E193-8FFC-4167-A2B8-CC8D5906FF5A}">
      <dgm:prSet custT="1"/>
      <dgm:spPr/>
      <dgm:t>
        <a:bodyPr/>
        <a:lstStyle/>
        <a:p>
          <a:r>
            <a:rPr lang="en-US" sz="2000" dirty="0"/>
            <a:t>SQL Server Indexing</a:t>
          </a:r>
        </a:p>
      </dgm:t>
    </dgm:pt>
    <dgm:pt modelId="{4E696DEE-2104-4DC7-A4AB-8C094840EE74}" type="parTrans" cxnId="{F5E2BA54-F456-4CA8-B803-199CC3E5495A}">
      <dgm:prSet/>
      <dgm:spPr/>
      <dgm:t>
        <a:bodyPr/>
        <a:lstStyle/>
        <a:p>
          <a:endParaRPr lang="en-US"/>
        </a:p>
      </dgm:t>
    </dgm:pt>
    <dgm:pt modelId="{97EC0467-6776-4640-9D32-3234A6AF4443}" type="sibTrans" cxnId="{F5E2BA54-F456-4CA8-B803-199CC3E5495A}">
      <dgm:prSet/>
      <dgm:spPr/>
      <dgm:t>
        <a:bodyPr/>
        <a:lstStyle/>
        <a:p>
          <a:endParaRPr lang="en-US"/>
        </a:p>
      </dgm:t>
    </dgm:pt>
    <dgm:pt modelId="{FC8F79FC-5DFA-4E13-B629-BFAC08349FCA}">
      <dgm:prSet custT="1"/>
      <dgm:spPr/>
      <dgm:t>
        <a:bodyPr/>
        <a:lstStyle/>
        <a:p>
          <a:r>
            <a:rPr lang="en-US" sz="2000" dirty="0"/>
            <a:t>Blocking and Deadlocking</a:t>
          </a:r>
        </a:p>
      </dgm:t>
    </dgm:pt>
    <dgm:pt modelId="{2750DF9B-A4D9-41F0-822D-1C65A054E8ED}" type="parTrans" cxnId="{B8C8486D-2177-45BD-89BE-F8C12BA6A255}">
      <dgm:prSet/>
      <dgm:spPr/>
      <dgm:t>
        <a:bodyPr/>
        <a:lstStyle/>
        <a:p>
          <a:endParaRPr lang="en-US"/>
        </a:p>
      </dgm:t>
    </dgm:pt>
    <dgm:pt modelId="{ACE0C3BC-7040-4121-A75B-FEE2515BE9A3}" type="sibTrans" cxnId="{B8C8486D-2177-45BD-89BE-F8C12BA6A255}">
      <dgm:prSet/>
      <dgm:spPr/>
      <dgm:t>
        <a:bodyPr/>
        <a:lstStyle/>
        <a:p>
          <a:endParaRPr lang="en-US"/>
        </a:p>
      </dgm:t>
    </dgm:pt>
    <dgm:pt modelId="{8C82D794-EDE4-40A9-AF2A-A65CE101612E}">
      <dgm:prSet custT="1"/>
      <dgm:spPr/>
      <dgm:t>
        <a:bodyPr/>
        <a:lstStyle/>
        <a:p>
          <a:r>
            <a:rPr lang="en-US" sz="2000" dirty="0"/>
            <a:t>Indexing Strategies and Monitoring</a:t>
          </a:r>
        </a:p>
      </dgm:t>
    </dgm:pt>
    <dgm:pt modelId="{EAA12081-EBAD-423A-858D-8397339660E3}" type="parTrans" cxnId="{7D6D67FC-A08E-4CA0-B1BF-95D66B75B8F0}">
      <dgm:prSet/>
      <dgm:spPr/>
      <dgm:t>
        <a:bodyPr/>
        <a:lstStyle/>
        <a:p>
          <a:endParaRPr lang="en-US"/>
        </a:p>
      </dgm:t>
    </dgm:pt>
    <dgm:pt modelId="{9457BE6F-7D0E-4A5D-A872-1D3683A72A31}" type="sibTrans" cxnId="{7D6D67FC-A08E-4CA0-B1BF-95D66B75B8F0}">
      <dgm:prSet/>
      <dgm:spPr/>
      <dgm:t>
        <a:bodyPr/>
        <a:lstStyle/>
        <a:p>
          <a:endParaRPr lang="en-US"/>
        </a:p>
      </dgm:t>
    </dgm:pt>
    <dgm:pt modelId="{272F615D-4D07-4C6E-B338-012EE67AAF6B}">
      <dgm:prSet custT="1"/>
      <dgm:spPr/>
      <dgm:t>
        <a:bodyPr/>
        <a:lstStyle/>
        <a:p>
          <a:r>
            <a:rPr lang="en-US" sz="2000" dirty="0"/>
            <a:t>SQL Server Statistics</a:t>
          </a:r>
        </a:p>
      </dgm:t>
    </dgm:pt>
    <dgm:pt modelId="{14B1E45F-C0EB-4C0C-9C02-C61315447B5E}" type="parTrans" cxnId="{65CF89FD-3A14-4421-A1D6-BD239841A040}">
      <dgm:prSet/>
      <dgm:spPr/>
      <dgm:t>
        <a:bodyPr/>
        <a:lstStyle/>
        <a:p>
          <a:endParaRPr lang="en-US"/>
        </a:p>
      </dgm:t>
    </dgm:pt>
    <dgm:pt modelId="{DD320923-1ACA-4F4F-B477-29D7453CB9B4}" type="sibTrans" cxnId="{65CF89FD-3A14-4421-A1D6-BD239841A040}">
      <dgm:prSet/>
      <dgm:spPr/>
      <dgm:t>
        <a:bodyPr/>
        <a:lstStyle/>
        <a:p>
          <a:endParaRPr lang="en-US"/>
        </a:p>
      </dgm:t>
    </dgm:pt>
    <dgm:pt modelId="{BDB444FE-D103-49BE-83CD-D42E04F4C555}" type="pres">
      <dgm:prSet presAssocID="{01E1DF0C-A459-49AA-8F8D-34E69D8DBE3E}" presName="Name0" presStyleCnt="0">
        <dgm:presLayoutVars>
          <dgm:dir/>
          <dgm:animLvl val="lvl"/>
          <dgm:resizeHandles val="exact"/>
        </dgm:presLayoutVars>
      </dgm:prSet>
      <dgm:spPr/>
    </dgm:pt>
    <dgm:pt modelId="{371BB8F0-40A8-41E8-A6BE-E0A04D71862D}" type="pres">
      <dgm:prSet presAssocID="{C1F4D27E-FFA1-4E3C-8CB1-D287B88F7993}" presName="vertFlow" presStyleCnt="0"/>
      <dgm:spPr/>
    </dgm:pt>
    <dgm:pt modelId="{1AE482F8-6E05-453E-8A34-D692ECC99589}" type="pres">
      <dgm:prSet presAssocID="{C1F4D27E-FFA1-4E3C-8CB1-D287B88F7993}" presName="header" presStyleLbl="node1" presStyleIdx="0" presStyleCnt="2"/>
      <dgm:spPr/>
    </dgm:pt>
    <dgm:pt modelId="{217EDA0E-4729-47B3-8156-66D175A0FE16}" type="pres">
      <dgm:prSet presAssocID="{E1485A84-A6A7-4C1E-917D-70B577E102EA}" presName="parTrans" presStyleLbl="sibTrans2D1" presStyleIdx="0" presStyleCnt="6"/>
      <dgm:spPr/>
    </dgm:pt>
    <dgm:pt modelId="{2D10722C-077A-43D2-8B37-E38CAFCB0F53}" type="pres">
      <dgm:prSet presAssocID="{97FE6D97-F2BE-45EB-86B4-26ACE34EF4E9}" presName="child" presStyleLbl="alignAccFollowNode1" presStyleIdx="0" presStyleCnt="6">
        <dgm:presLayoutVars>
          <dgm:chMax val="0"/>
          <dgm:bulletEnabled val="1"/>
        </dgm:presLayoutVars>
      </dgm:prSet>
      <dgm:spPr/>
    </dgm:pt>
    <dgm:pt modelId="{B4C7C0A9-0FC7-43D3-9F18-19E92C3CBFFB}" type="pres">
      <dgm:prSet presAssocID="{C2ADBC24-38B3-4F0A-AA69-251381257380}" presName="sibTrans" presStyleLbl="sibTrans2D1" presStyleIdx="1" presStyleCnt="6"/>
      <dgm:spPr/>
    </dgm:pt>
    <dgm:pt modelId="{2FFCF655-45BC-467D-8C97-273452B9B402}" type="pres">
      <dgm:prSet presAssocID="{840E3605-D617-4ABA-815E-EAFD3358C98B}" presName="child" presStyleLbl="alignAccFollowNode1" presStyleIdx="1" presStyleCnt="6">
        <dgm:presLayoutVars>
          <dgm:chMax val="0"/>
          <dgm:bulletEnabled val="1"/>
        </dgm:presLayoutVars>
      </dgm:prSet>
      <dgm:spPr/>
    </dgm:pt>
    <dgm:pt modelId="{544AAD2C-E2CF-423C-BFCB-E6F580A4482A}" type="pres">
      <dgm:prSet presAssocID="{356EBAA2-F208-40A3-894C-5E5F87EE16D5}" presName="sibTrans" presStyleLbl="sibTrans2D1" presStyleIdx="2" presStyleCnt="6"/>
      <dgm:spPr/>
    </dgm:pt>
    <dgm:pt modelId="{403A4938-5385-4A97-9E7E-ED34C05F4BEE}" type="pres">
      <dgm:prSet presAssocID="{FC8F79FC-5DFA-4E13-B629-BFAC08349FCA}" presName="child" presStyleLbl="alignAccFollowNode1" presStyleIdx="2" presStyleCnt="6">
        <dgm:presLayoutVars>
          <dgm:chMax val="0"/>
          <dgm:bulletEnabled val="1"/>
        </dgm:presLayoutVars>
      </dgm:prSet>
      <dgm:spPr/>
    </dgm:pt>
    <dgm:pt modelId="{9A2B3DEF-5E23-4745-BB78-7CCAE24B7BC5}" type="pres">
      <dgm:prSet presAssocID="{C1F4D27E-FFA1-4E3C-8CB1-D287B88F7993}" presName="hSp" presStyleCnt="0"/>
      <dgm:spPr/>
    </dgm:pt>
    <dgm:pt modelId="{05593D07-432A-4598-ABE3-9837FA572741}" type="pres">
      <dgm:prSet presAssocID="{776B2B31-5461-40B3-B268-A9BBC4A4A31D}" presName="vertFlow" presStyleCnt="0"/>
      <dgm:spPr/>
    </dgm:pt>
    <dgm:pt modelId="{09D93175-1068-4A6F-BAC2-BB0F74D90CF6}" type="pres">
      <dgm:prSet presAssocID="{776B2B31-5461-40B3-B268-A9BBC4A4A31D}" presName="header" presStyleLbl="node1" presStyleIdx="1" presStyleCnt="2"/>
      <dgm:spPr/>
    </dgm:pt>
    <dgm:pt modelId="{7A748C2F-19F1-441D-9BED-65D04F182F80}" type="pres">
      <dgm:prSet presAssocID="{4E696DEE-2104-4DC7-A4AB-8C094840EE74}" presName="parTrans" presStyleLbl="sibTrans2D1" presStyleIdx="3" presStyleCnt="6"/>
      <dgm:spPr/>
    </dgm:pt>
    <dgm:pt modelId="{BA1C6F43-1770-4895-A44B-AC70CDFF8BD4}" type="pres">
      <dgm:prSet presAssocID="{E674E193-8FFC-4167-A2B8-CC8D5906FF5A}" presName="child" presStyleLbl="alignAccFollowNode1" presStyleIdx="3" presStyleCnt="6">
        <dgm:presLayoutVars>
          <dgm:chMax val="0"/>
          <dgm:bulletEnabled val="1"/>
        </dgm:presLayoutVars>
      </dgm:prSet>
      <dgm:spPr/>
    </dgm:pt>
    <dgm:pt modelId="{97EA865B-1271-4667-988F-AFB9CF81459C}" type="pres">
      <dgm:prSet presAssocID="{97EC0467-6776-4640-9D32-3234A6AF4443}" presName="sibTrans" presStyleLbl="sibTrans2D1" presStyleIdx="4" presStyleCnt="6"/>
      <dgm:spPr/>
    </dgm:pt>
    <dgm:pt modelId="{AEDF2D89-4CAC-4F86-8EC4-1E3862D99294}" type="pres">
      <dgm:prSet presAssocID="{8C82D794-EDE4-40A9-AF2A-A65CE101612E}" presName="child" presStyleLbl="alignAccFollowNode1" presStyleIdx="4" presStyleCnt="6">
        <dgm:presLayoutVars>
          <dgm:chMax val="0"/>
          <dgm:bulletEnabled val="1"/>
        </dgm:presLayoutVars>
      </dgm:prSet>
      <dgm:spPr/>
    </dgm:pt>
    <dgm:pt modelId="{12C8D2A7-DEF3-45DA-B3C8-9E82A2FC004D}" type="pres">
      <dgm:prSet presAssocID="{9457BE6F-7D0E-4A5D-A872-1D3683A72A31}" presName="sibTrans" presStyleLbl="sibTrans2D1" presStyleIdx="5" presStyleCnt="6"/>
      <dgm:spPr/>
    </dgm:pt>
    <dgm:pt modelId="{7A5BC526-B0B4-4FC1-A456-D9D57FB1FF1B}" type="pres">
      <dgm:prSet presAssocID="{272F615D-4D07-4C6E-B338-012EE67AAF6B}" presName="child" presStyleLbl="alignAccFollowNode1" presStyleIdx="5" presStyleCnt="6">
        <dgm:presLayoutVars>
          <dgm:chMax val="0"/>
          <dgm:bulletEnabled val="1"/>
        </dgm:presLayoutVars>
      </dgm:prSet>
      <dgm:spPr/>
    </dgm:pt>
  </dgm:ptLst>
  <dgm:cxnLst>
    <dgm:cxn modelId="{39861C06-9D0D-4686-9DD3-9C05A947ADBA}" srcId="{01E1DF0C-A459-49AA-8F8D-34E69D8DBE3E}" destId="{C1F4D27E-FFA1-4E3C-8CB1-D287B88F7993}" srcOrd="0" destOrd="0" parTransId="{5EC18D1F-2434-4375-8C52-FD441EC3682D}" sibTransId="{627AD5D3-5343-4A6A-8497-1815E9DD24F3}"/>
    <dgm:cxn modelId="{B4E7510B-E0C0-47B5-A5C2-29FD322A5D25}" type="presOf" srcId="{E1485A84-A6A7-4C1E-917D-70B577E102EA}" destId="{217EDA0E-4729-47B3-8156-66D175A0FE16}" srcOrd="0" destOrd="0" presId="urn:microsoft.com/office/officeart/2005/8/layout/lProcess1"/>
    <dgm:cxn modelId="{2BD6C80D-2E62-4CA9-83EC-607C74F91557}" type="presOf" srcId="{272F615D-4D07-4C6E-B338-012EE67AAF6B}" destId="{7A5BC526-B0B4-4FC1-A456-D9D57FB1FF1B}" srcOrd="0" destOrd="0" presId="urn:microsoft.com/office/officeart/2005/8/layout/lProcess1"/>
    <dgm:cxn modelId="{9C2CED11-FBF1-4E7B-9DC0-A605363BAA4F}" type="presOf" srcId="{8C82D794-EDE4-40A9-AF2A-A65CE101612E}" destId="{AEDF2D89-4CAC-4F86-8EC4-1E3862D99294}" srcOrd="0" destOrd="0" presId="urn:microsoft.com/office/officeart/2005/8/layout/lProcess1"/>
    <dgm:cxn modelId="{7EB82122-AC9E-4420-BFC8-015CD47517F4}" type="presOf" srcId="{FC8F79FC-5DFA-4E13-B629-BFAC08349FCA}" destId="{403A4938-5385-4A97-9E7E-ED34C05F4BEE}" srcOrd="0" destOrd="0" presId="urn:microsoft.com/office/officeart/2005/8/layout/lProcess1"/>
    <dgm:cxn modelId="{0E834727-6C36-4000-AA40-A4F62EF70824}" type="presOf" srcId="{E674E193-8FFC-4167-A2B8-CC8D5906FF5A}" destId="{BA1C6F43-1770-4895-A44B-AC70CDFF8BD4}" srcOrd="0" destOrd="0" presId="urn:microsoft.com/office/officeart/2005/8/layout/lProcess1"/>
    <dgm:cxn modelId="{E3DE872B-296A-46EE-B2FB-DC3549DA603A}" type="presOf" srcId="{356EBAA2-F208-40A3-894C-5E5F87EE16D5}" destId="{544AAD2C-E2CF-423C-BFCB-E6F580A4482A}" srcOrd="0" destOrd="0" presId="urn:microsoft.com/office/officeart/2005/8/layout/lProcess1"/>
    <dgm:cxn modelId="{8A27C530-213B-4488-8B98-0A8821B9D3C2}" type="presOf" srcId="{97FE6D97-F2BE-45EB-86B4-26ACE34EF4E9}" destId="{2D10722C-077A-43D2-8B37-E38CAFCB0F53}" srcOrd="0" destOrd="0" presId="urn:microsoft.com/office/officeart/2005/8/layout/lProcess1"/>
    <dgm:cxn modelId="{44ED103C-923B-4564-AC1C-1B6A6A302E59}" srcId="{01E1DF0C-A459-49AA-8F8D-34E69D8DBE3E}" destId="{776B2B31-5461-40B3-B268-A9BBC4A4A31D}" srcOrd="1" destOrd="0" parTransId="{D5FB47A0-564E-4A4E-A6FF-3D0EF786B3AD}" sibTransId="{E8D9AB46-F959-497C-ACAE-258667507765}"/>
    <dgm:cxn modelId="{3FC59C3D-39C2-4E1C-B40F-D0393840269D}" type="presOf" srcId="{4E696DEE-2104-4DC7-A4AB-8C094840EE74}" destId="{7A748C2F-19F1-441D-9BED-65D04F182F80}" srcOrd="0" destOrd="0" presId="urn:microsoft.com/office/officeart/2005/8/layout/lProcess1"/>
    <dgm:cxn modelId="{2D499162-4D00-44AB-9D93-4FFDEAC15780}" type="presOf" srcId="{776B2B31-5461-40B3-B268-A9BBC4A4A31D}" destId="{09D93175-1068-4A6F-BAC2-BB0F74D90CF6}" srcOrd="0" destOrd="0" presId="urn:microsoft.com/office/officeart/2005/8/layout/lProcess1"/>
    <dgm:cxn modelId="{B8C8486D-2177-45BD-89BE-F8C12BA6A255}" srcId="{C1F4D27E-FFA1-4E3C-8CB1-D287B88F7993}" destId="{FC8F79FC-5DFA-4E13-B629-BFAC08349FCA}" srcOrd="2" destOrd="0" parTransId="{2750DF9B-A4D9-41F0-822D-1C65A054E8ED}" sibTransId="{ACE0C3BC-7040-4121-A75B-FEE2515BE9A3}"/>
    <dgm:cxn modelId="{7B3D1A4E-1500-4025-A8DF-F6E3D45F7B81}" type="presOf" srcId="{97EC0467-6776-4640-9D32-3234A6AF4443}" destId="{97EA865B-1271-4667-988F-AFB9CF81459C}" srcOrd="0" destOrd="0" presId="urn:microsoft.com/office/officeart/2005/8/layout/lProcess1"/>
    <dgm:cxn modelId="{39044973-101B-42F6-A0C9-0C9A63E3ADA2}" type="presOf" srcId="{840E3605-D617-4ABA-815E-EAFD3358C98B}" destId="{2FFCF655-45BC-467D-8C97-273452B9B402}" srcOrd="0" destOrd="0" presId="urn:microsoft.com/office/officeart/2005/8/layout/lProcess1"/>
    <dgm:cxn modelId="{F5E2BA54-F456-4CA8-B803-199CC3E5495A}" srcId="{776B2B31-5461-40B3-B268-A9BBC4A4A31D}" destId="{E674E193-8FFC-4167-A2B8-CC8D5906FF5A}" srcOrd="0" destOrd="0" parTransId="{4E696DEE-2104-4DC7-A4AB-8C094840EE74}" sibTransId="{97EC0467-6776-4640-9D32-3234A6AF4443}"/>
    <dgm:cxn modelId="{D7AF1476-C39C-4716-A32E-267FF945AF11}" type="presOf" srcId="{01E1DF0C-A459-49AA-8F8D-34E69D8DBE3E}" destId="{BDB444FE-D103-49BE-83CD-D42E04F4C555}" srcOrd="0" destOrd="0" presId="urn:microsoft.com/office/officeart/2005/8/layout/lProcess1"/>
    <dgm:cxn modelId="{BDA7669E-16D5-4E7D-8E14-33FAFA24B091}" type="presOf" srcId="{9457BE6F-7D0E-4A5D-A872-1D3683A72A31}" destId="{12C8D2A7-DEF3-45DA-B3C8-9E82A2FC004D}" srcOrd="0" destOrd="0" presId="urn:microsoft.com/office/officeart/2005/8/layout/lProcess1"/>
    <dgm:cxn modelId="{31A646A2-DC34-49E7-8EC2-CE7FCAEA1958}" type="presOf" srcId="{C1F4D27E-FFA1-4E3C-8CB1-D287B88F7993}" destId="{1AE482F8-6E05-453E-8A34-D692ECC99589}" srcOrd="0" destOrd="0" presId="urn:microsoft.com/office/officeart/2005/8/layout/lProcess1"/>
    <dgm:cxn modelId="{579C94D6-E7D0-496A-AA06-A3FA597A4F21}" type="presOf" srcId="{C2ADBC24-38B3-4F0A-AA69-251381257380}" destId="{B4C7C0A9-0FC7-43D3-9F18-19E92C3CBFFB}" srcOrd="0" destOrd="0" presId="urn:microsoft.com/office/officeart/2005/8/layout/lProcess1"/>
    <dgm:cxn modelId="{689AE3E5-DD22-4C29-BA2E-03F8B6443C5B}" srcId="{C1F4D27E-FFA1-4E3C-8CB1-D287B88F7993}" destId="{840E3605-D617-4ABA-815E-EAFD3358C98B}" srcOrd="1" destOrd="0" parTransId="{1C2E9AE7-A267-4B97-9577-E502F55D7B99}" sibTransId="{356EBAA2-F208-40A3-894C-5E5F87EE16D5}"/>
    <dgm:cxn modelId="{CC101BF5-BCCC-47B9-91F5-0C16F6DF2930}" srcId="{C1F4D27E-FFA1-4E3C-8CB1-D287B88F7993}" destId="{97FE6D97-F2BE-45EB-86B4-26ACE34EF4E9}" srcOrd="0" destOrd="0" parTransId="{E1485A84-A6A7-4C1E-917D-70B577E102EA}" sibTransId="{C2ADBC24-38B3-4F0A-AA69-251381257380}"/>
    <dgm:cxn modelId="{7D6D67FC-A08E-4CA0-B1BF-95D66B75B8F0}" srcId="{776B2B31-5461-40B3-B268-A9BBC4A4A31D}" destId="{8C82D794-EDE4-40A9-AF2A-A65CE101612E}" srcOrd="1" destOrd="0" parTransId="{EAA12081-EBAD-423A-858D-8397339660E3}" sibTransId="{9457BE6F-7D0E-4A5D-A872-1D3683A72A31}"/>
    <dgm:cxn modelId="{65CF89FD-3A14-4421-A1D6-BD239841A040}" srcId="{776B2B31-5461-40B3-B268-A9BBC4A4A31D}" destId="{272F615D-4D07-4C6E-B338-012EE67AAF6B}" srcOrd="2" destOrd="0" parTransId="{14B1E45F-C0EB-4C0C-9C02-C61315447B5E}" sibTransId="{DD320923-1ACA-4F4F-B477-29D7453CB9B4}"/>
    <dgm:cxn modelId="{87DC6A47-FAB3-417E-AAC8-0EA6DBE5ABC8}" type="presParOf" srcId="{BDB444FE-D103-49BE-83CD-D42E04F4C555}" destId="{371BB8F0-40A8-41E8-A6BE-E0A04D71862D}" srcOrd="0" destOrd="0" presId="urn:microsoft.com/office/officeart/2005/8/layout/lProcess1"/>
    <dgm:cxn modelId="{1F1DE9BD-3D86-4FE6-AFBD-FA54502B53AB}" type="presParOf" srcId="{371BB8F0-40A8-41E8-A6BE-E0A04D71862D}" destId="{1AE482F8-6E05-453E-8A34-D692ECC99589}" srcOrd="0" destOrd="0" presId="urn:microsoft.com/office/officeart/2005/8/layout/lProcess1"/>
    <dgm:cxn modelId="{D4AACEDB-4C7B-4920-AF1C-46669353C337}" type="presParOf" srcId="{371BB8F0-40A8-41E8-A6BE-E0A04D71862D}" destId="{217EDA0E-4729-47B3-8156-66D175A0FE16}" srcOrd="1" destOrd="0" presId="urn:microsoft.com/office/officeart/2005/8/layout/lProcess1"/>
    <dgm:cxn modelId="{89F2188A-38D7-4058-B917-A9E56C21EE2D}" type="presParOf" srcId="{371BB8F0-40A8-41E8-A6BE-E0A04D71862D}" destId="{2D10722C-077A-43D2-8B37-E38CAFCB0F53}" srcOrd="2" destOrd="0" presId="urn:microsoft.com/office/officeart/2005/8/layout/lProcess1"/>
    <dgm:cxn modelId="{6C9EAE42-F1B1-4485-A700-BA3EE86D549D}" type="presParOf" srcId="{371BB8F0-40A8-41E8-A6BE-E0A04D71862D}" destId="{B4C7C0A9-0FC7-43D3-9F18-19E92C3CBFFB}" srcOrd="3" destOrd="0" presId="urn:microsoft.com/office/officeart/2005/8/layout/lProcess1"/>
    <dgm:cxn modelId="{FE88ACEE-9C48-42BF-B58C-BA100B631E49}" type="presParOf" srcId="{371BB8F0-40A8-41E8-A6BE-E0A04D71862D}" destId="{2FFCF655-45BC-467D-8C97-273452B9B402}" srcOrd="4" destOrd="0" presId="urn:microsoft.com/office/officeart/2005/8/layout/lProcess1"/>
    <dgm:cxn modelId="{B20DD4FC-3F36-42BD-BE5B-360EF9625C80}" type="presParOf" srcId="{371BB8F0-40A8-41E8-A6BE-E0A04D71862D}" destId="{544AAD2C-E2CF-423C-BFCB-E6F580A4482A}" srcOrd="5" destOrd="0" presId="urn:microsoft.com/office/officeart/2005/8/layout/lProcess1"/>
    <dgm:cxn modelId="{CA0164D5-519A-4A74-A09F-41DD8A987DA2}" type="presParOf" srcId="{371BB8F0-40A8-41E8-A6BE-E0A04D71862D}" destId="{403A4938-5385-4A97-9E7E-ED34C05F4BEE}" srcOrd="6" destOrd="0" presId="urn:microsoft.com/office/officeart/2005/8/layout/lProcess1"/>
    <dgm:cxn modelId="{46AF9291-0AF2-4527-8BF8-F5D7973D76CD}" type="presParOf" srcId="{BDB444FE-D103-49BE-83CD-D42E04F4C555}" destId="{9A2B3DEF-5E23-4745-BB78-7CCAE24B7BC5}" srcOrd="1" destOrd="0" presId="urn:microsoft.com/office/officeart/2005/8/layout/lProcess1"/>
    <dgm:cxn modelId="{2FD527A7-0C34-4649-9363-915B14B433CA}" type="presParOf" srcId="{BDB444FE-D103-49BE-83CD-D42E04F4C555}" destId="{05593D07-432A-4598-ABE3-9837FA572741}" srcOrd="2" destOrd="0" presId="urn:microsoft.com/office/officeart/2005/8/layout/lProcess1"/>
    <dgm:cxn modelId="{84954992-D95F-40A9-80CA-C54D5112AAF3}" type="presParOf" srcId="{05593D07-432A-4598-ABE3-9837FA572741}" destId="{09D93175-1068-4A6F-BAC2-BB0F74D90CF6}" srcOrd="0" destOrd="0" presId="urn:microsoft.com/office/officeart/2005/8/layout/lProcess1"/>
    <dgm:cxn modelId="{D7429397-99A8-4CBA-90BB-BCCB9272C070}" type="presParOf" srcId="{05593D07-432A-4598-ABE3-9837FA572741}" destId="{7A748C2F-19F1-441D-9BED-65D04F182F80}" srcOrd="1" destOrd="0" presId="urn:microsoft.com/office/officeart/2005/8/layout/lProcess1"/>
    <dgm:cxn modelId="{2EA77399-E2E1-4069-A859-068CB42F3B5A}" type="presParOf" srcId="{05593D07-432A-4598-ABE3-9837FA572741}" destId="{BA1C6F43-1770-4895-A44B-AC70CDFF8BD4}" srcOrd="2" destOrd="0" presId="urn:microsoft.com/office/officeart/2005/8/layout/lProcess1"/>
    <dgm:cxn modelId="{6FC228D1-E97F-4B23-A2BC-8A8ED2F426C8}" type="presParOf" srcId="{05593D07-432A-4598-ABE3-9837FA572741}" destId="{97EA865B-1271-4667-988F-AFB9CF81459C}" srcOrd="3" destOrd="0" presId="urn:microsoft.com/office/officeart/2005/8/layout/lProcess1"/>
    <dgm:cxn modelId="{C2AF9BA7-B81A-4D4F-A869-111BE4DBCF23}" type="presParOf" srcId="{05593D07-432A-4598-ABE3-9837FA572741}" destId="{AEDF2D89-4CAC-4F86-8EC4-1E3862D99294}" srcOrd="4" destOrd="0" presId="urn:microsoft.com/office/officeart/2005/8/layout/lProcess1"/>
    <dgm:cxn modelId="{5CF88A3A-7364-4837-B535-06CED40B3ABA}" type="presParOf" srcId="{05593D07-432A-4598-ABE3-9837FA572741}" destId="{12C8D2A7-DEF3-45DA-B3C8-9E82A2FC004D}" srcOrd="5" destOrd="0" presId="urn:microsoft.com/office/officeart/2005/8/layout/lProcess1"/>
    <dgm:cxn modelId="{011EA06E-708B-49A0-98D7-0BE4E002489A}" type="presParOf" srcId="{05593D07-432A-4598-ABE3-9837FA572741}" destId="{7A5BC526-B0B4-4FC1-A456-D9D57FB1FF1B}"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1" qsCatId="simple" csTypeId="urn:microsoft.com/office/officeart/2005/8/colors/colorful3" csCatId="colorful" phldr="1"/>
      <dgm:spPr/>
      <dgm:t>
        <a:bodyPr/>
        <a:lstStyle/>
        <a:p>
          <a:endParaRPr lang="en-US"/>
        </a:p>
      </dgm:t>
    </dgm:pt>
    <dgm:pt modelId="{968D47F0-A487-418E-B923-34CD3BED85C9}">
      <dgm:prSet custT="1"/>
      <dgm:spPr/>
      <dgm:t>
        <a:bodyPr/>
        <a:lstStyle/>
        <a:p>
          <a:r>
            <a:rPr lang="en-US" sz="2000" b="0" dirty="0"/>
            <a:t>Module 5: SQL Server Query Execution and Plans</a:t>
          </a:r>
        </a:p>
      </dgm:t>
    </dgm:pt>
    <dgm:pt modelId="{955BA8EA-5BF7-4D6E-86F8-7645E2D5A339}" type="parTrans" cxnId="{DC36FF75-A64D-43C5-B8ED-B87096F8B12C}">
      <dgm:prSet/>
      <dgm:spPr/>
      <dgm:t>
        <a:bodyPr/>
        <a:lstStyle/>
        <a:p>
          <a:endParaRPr lang="en-US"/>
        </a:p>
      </dgm:t>
    </dgm:pt>
    <dgm:pt modelId="{FBB7AE93-FB90-4208-83AD-69184FA60492}" type="sibTrans" cxnId="{DC36FF75-A64D-43C5-B8ED-B87096F8B12C}">
      <dgm:prSet/>
      <dgm:spPr/>
      <dgm:t>
        <a:bodyPr/>
        <a:lstStyle/>
        <a:p>
          <a:endParaRPr lang="en-US"/>
        </a:p>
      </dgm:t>
    </dgm:pt>
    <dgm:pt modelId="{0E8FA76E-3753-489F-9671-C18DF097B5BF}">
      <dgm:prSet custT="1"/>
      <dgm:spPr/>
      <dgm:t>
        <a:bodyPr/>
        <a:lstStyle/>
        <a:p>
          <a:r>
            <a:rPr lang="en-US" sz="2000" b="0" dirty="0"/>
            <a:t>SQL Server Query Execution and Plan Analysis</a:t>
          </a:r>
        </a:p>
      </dgm:t>
    </dgm:pt>
    <dgm:pt modelId="{82755EFB-BF9B-4E9B-9F17-5C810D36FDEC}" type="parTrans" cxnId="{F1CC9F21-86D7-4F08-BF07-619FB0D54D4D}">
      <dgm:prSet/>
      <dgm:spPr/>
      <dgm:t>
        <a:bodyPr/>
        <a:lstStyle/>
        <a:p>
          <a:endParaRPr lang="en-US"/>
        </a:p>
      </dgm:t>
    </dgm:pt>
    <dgm:pt modelId="{765CEB77-6A33-41D1-B83B-0222B55F6ADC}" type="sibTrans" cxnId="{F1CC9F21-86D7-4F08-BF07-619FB0D54D4D}">
      <dgm:prSet/>
      <dgm:spPr/>
      <dgm:t>
        <a:bodyPr/>
        <a:lstStyle/>
        <a:p>
          <a:endParaRPr lang="en-US"/>
        </a:p>
      </dgm:t>
    </dgm:pt>
    <dgm:pt modelId="{49761104-4867-4EB3-8A60-1693E1966369}">
      <dgm:prSet custT="1"/>
      <dgm:spPr/>
      <dgm:t>
        <a:bodyPr/>
        <a:lstStyle/>
        <a:p>
          <a:r>
            <a:rPr lang="en-US" sz="2000" b="0" dirty="0"/>
            <a:t>SQL Server Plan Cache Internals</a:t>
          </a:r>
        </a:p>
      </dgm:t>
    </dgm:pt>
    <dgm:pt modelId="{7368B0EE-6359-4863-BB18-4B79C5A8A32A}" type="parTrans" cxnId="{1D63E326-ACCE-46C8-883C-C50D94B978FE}">
      <dgm:prSet/>
      <dgm:spPr/>
      <dgm:t>
        <a:bodyPr/>
        <a:lstStyle/>
        <a:p>
          <a:endParaRPr lang="en-US"/>
        </a:p>
      </dgm:t>
    </dgm:pt>
    <dgm:pt modelId="{12371027-2AC5-41AB-B78F-5B109823ABD5}" type="sibTrans" cxnId="{1D63E326-ACCE-46C8-883C-C50D94B978FE}">
      <dgm:prSet/>
      <dgm:spPr/>
      <dgm:t>
        <a:bodyPr/>
        <a:lstStyle/>
        <a:p>
          <a:endParaRPr lang="en-US"/>
        </a:p>
      </dgm:t>
    </dgm:pt>
    <dgm:pt modelId="{6BEE2963-3A9D-4388-81B8-8D648E9E7790}">
      <dgm:prSet custT="1"/>
      <dgm:spPr/>
      <dgm:t>
        <a:bodyPr/>
        <a:lstStyle/>
        <a:p>
          <a:r>
            <a:rPr lang="en-US" sz="2000" b="0" dirty="0"/>
            <a:t>Troubleshooting with Query Store</a:t>
          </a:r>
        </a:p>
      </dgm:t>
    </dgm:pt>
    <dgm:pt modelId="{3B133D76-A302-4FB5-81ED-F1AB9BA05C00}" type="parTrans" cxnId="{461876DB-182C-4AE7-8294-3AC6075A9323}">
      <dgm:prSet/>
      <dgm:spPr/>
      <dgm:t>
        <a:bodyPr/>
        <a:lstStyle/>
        <a:p>
          <a:endParaRPr lang="en-US"/>
        </a:p>
      </dgm:t>
    </dgm:pt>
    <dgm:pt modelId="{2285D3AA-E1AF-45A7-8D87-3CA5D01BE93B}" type="sibTrans" cxnId="{461876DB-182C-4AE7-8294-3AC6075A9323}">
      <dgm:prSet/>
      <dgm:spPr/>
      <dgm:t>
        <a:bodyPr/>
        <a:lstStyle/>
        <a:p>
          <a:endParaRPr lang="en-US"/>
        </a:p>
      </dgm:t>
    </dgm:pt>
    <dgm:pt modelId="{26BDF89B-9039-4676-9C1F-53F0B3027603}">
      <dgm:prSet custT="1"/>
      <dgm:spPr/>
      <dgm:t>
        <a:bodyPr/>
        <a:lstStyle/>
        <a:p>
          <a:r>
            <a:rPr lang="en-US" sz="2000" b="0" dirty="0"/>
            <a:t>Module 6: Azure SQL Performance Tuning</a:t>
          </a:r>
        </a:p>
      </dgm:t>
    </dgm:pt>
    <dgm:pt modelId="{A356C7C9-A4E9-4C52-829E-8ECC43C45C4E}" type="parTrans" cxnId="{0E0B2FFF-1A02-4F60-874E-13AAC69A7223}">
      <dgm:prSet/>
      <dgm:spPr/>
      <dgm:t>
        <a:bodyPr/>
        <a:lstStyle/>
        <a:p>
          <a:endParaRPr lang="en-US"/>
        </a:p>
      </dgm:t>
    </dgm:pt>
    <dgm:pt modelId="{0A31CC97-DC35-475F-8925-2691AE87E44F}" type="sibTrans" cxnId="{0E0B2FFF-1A02-4F60-874E-13AAC69A7223}">
      <dgm:prSet/>
      <dgm:spPr/>
      <dgm:t>
        <a:bodyPr/>
        <a:lstStyle/>
        <a:p>
          <a:endParaRPr lang="en-US"/>
        </a:p>
      </dgm:t>
    </dgm:pt>
    <dgm:pt modelId="{D1DA7FC2-E401-4D5F-B878-4AC1D1963E31}">
      <dgm:prSet custT="1"/>
      <dgm:spPr/>
      <dgm:t>
        <a:bodyPr/>
        <a:lstStyle/>
        <a:p>
          <a:r>
            <a:rPr lang="en-US" sz="2000" b="0" dirty="0"/>
            <a:t>Query Performance Insights</a:t>
          </a:r>
        </a:p>
      </dgm:t>
    </dgm:pt>
    <dgm:pt modelId="{1B05DEE8-33C8-4503-8AA1-884042387C2F}" type="parTrans" cxnId="{F6489D14-A31C-46C5-A0DE-DE2D60147EF8}">
      <dgm:prSet/>
      <dgm:spPr/>
      <dgm:t>
        <a:bodyPr/>
        <a:lstStyle/>
        <a:p>
          <a:endParaRPr lang="en-US"/>
        </a:p>
      </dgm:t>
    </dgm:pt>
    <dgm:pt modelId="{923A0E32-EFF0-441B-AC78-A19774358400}" type="sibTrans" cxnId="{F6489D14-A31C-46C5-A0DE-DE2D60147EF8}">
      <dgm:prSet/>
      <dgm:spPr/>
      <dgm:t>
        <a:bodyPr/>
        <a:lstStyle/>
        <a:p>
          <a:endParaRPr lang="en-US"/>
        </a:p>
      </dgm:t>
    </dgm:pt>
    <dgm:pt modelId="{BD838003-9405-4F5E-B3FF-7B06157331D3}">
      <dgm:prSet custT="1"/>
      <dgm:spPr/>
      <dgm:t>
        <a:bodyPr/>
        <a:lstStyle/>
        <a:p>
          <a:r>
            <a:rPr lang="en-US" sz="2000" b="0" dirty="0"/>
            <a:t>Automatic Tuning in Azure SQL</a:t>
          </a:r>
        </a:p>
      </dgm:t>
    </dgm:pt>
    <dgm:pt modelId="{FA597B63-7679-416D-83F9-7FC4B5185EB1}" type="parTrans" cxnId="{5619F985-9A7F-493B-B346-E084C84A5726}">
      <dgm:prSet/>
      <dgm:spPr/>
      <dgm:t>
        <a:bodyPr/>
        <a:lstStyle/>
        <a:p>
          <a:endParaRPr lang="en-US"/>
        </a:p>
      </dgm:t>
    </dgm:pt>
    <dgm:pt modelId="{8B6534DF-AE60-4C05-B6AA-4F9D7D85FCD4}" type="sibTrans" cxnId="{5619F985-9A7F-493B-B346-E084C84A5726}">
      <dgm:prSet/>
      <dgm:spPr/>
      <dgm:t>
        <a:bodyPr/>
        <a:lstStyle/>
        <a:p>
          <a:endParaRPr lang="en-US"/>
        </a:p>
      </dgm:t>
    </dgm:pt>
    <dgm:pt modelId="{B278BDC7-C0C1-452F-8926-6F4F0035AF39}" type="pres">
      <dgm:prSet presAssocID="{01E1DF0C-A459-49AA-8F8D-34E69D8DBE3E}" presName="Name0" presStyleCnt="0">
        <dgm:presLayoutVars>
          <dgm:dir/>
          <dgm:animLvl val="lvl"/>
          <dgm:resizeHandles val="exact"/>
        </dgm:presLayoutVars>
      </dgm:prSet>
      <dgm:spPr/>
    </dgm:pt>
    <dgm:pt modelId="{409844B6-56B4-49B3-B37B-E1DAE25F5B24}" type="pres">
      <dgm:prSet presAssocID="{968D47F0-A487-418E-B923-34CD3BED85C9}" presName="vertFlow" presStyleCnt="0"/>
      <dgm:spPr/>
    </dgm:pt>
    <dgm:pt modelId="{83374E5D-014F-4D8E-9D66-846D06E8699C}" type="pres">
      <dgm:prSet presAssocID="{968D47F0-A487-418E-B923-34CD3BED85C9}" presName="header" presStyleLbl="node1" presStyleIdx="0" presStyleCnt="2"/>
      <dgm:spPr/>
    </dgm:pt>
    <dgm:pt modelId="{A55F77FF-F5BC-472B-AAA0-C96199F4C838}" type="pres">
      <dgm:prSet presAssocID="{82755EFB-BF9B-4E9B-9F17-5C810D36FDEC}" presName="parTrans" presStyleLbl="sibTrans2D1" presStyleIdx="0" presStyleCnt="5"/>
      <dgm:spPr/>
    </dgm:pt>
    <dgm:pt modelId="{A4F57449-9FF4-43C5-A692-6ADF1CCBD350}" type="pres">
      <dgm:prSet presAssocID="{0E8FA76E-3753-489F-9671-C18DF097B5BF}" presName="child" presStyleLbl="alignAccFollowNode1" presStyleIdx="0" presStyleCnt="5">
        <dgm:presLayoutVars>
          <dgm:chMax val="0"/>
          <dgm:bulletEnabled val="1"/>
        </dgm:presLayoutVars>
      </dgm:prSet>
      <dgm:spPr/>
    </dgm:pt>
    <dgm:pt modelId="{4C2749C4-30E4-4198-ADED-06066016BC45}" type="pres">
      <dgm:prSet presAssocID="{765CEB77-6A33-41D1-B83B-0222B55F6ADC}" presName="sibTrans" presStyleLbl="sibTrans2D1" presStyleIdx="1" presStyleCnt="5"/>
      <dgm:spPr/>
    </dgm:pt>
    <dgm:pt modelId="{95CCDD5C-A3E9-4381-82B3-6F2C14527225}" type="pres">
      <dgm:prSet presAssocID="{49761104-4867-4EB3-8A60-1693E1966369}" presName="child" presStyleLbl="alignAccFollowNode1" presStyleIdx="1" presStyleCnt="5">
        <dgm:presLayoutVars>
          <dgm:chMax val="0"/>
          <dgm:bulletEnabled val="1"/>
        </dgm:presLayoutVars>
      </dgm:prSet>
      <dgm:spPr/>
    </dgm:pt>
    <dgm:pt modelId="{58C4C3AD-632A-4F42-9D36-58E702C7A651}" type="pres">
      <dgm:prSet presAssocID="{12371027-2AC5-41AB-B78F-5B109823ABD5}" presName="sibTrans" presStyleLbl="sibTrans2D1" presStyleIdx="2" presStyleCnt="5"/>
      <dgm:spPr/>
    </dgm:pt>
    <dgm:pt modelId="{95FBA2C0-D334-4CDB-A700-348EFD22A478}" type="pres">
      <dgm:prSet presAssocID="{6BEE2963-3A9D-4388-81B8-8D648E9E7790}" presName="child" presStyleLbl="alignAccFollowNode1" presStyleIdx="2" presStyleCnt="5">
        <dgm:presLayoutVars>
          <dgm:chMax val="0"/>
          <dgm:bulletEnabled val="1"/>
        </dgm:presLayoutVars>
      </dgm:prSet>
      <dgm:spPr/>
    </dgm:pt>
    <dgm:pt modelId="{14933B34-DB96-416F-817F-FFA90DBAC24F}" type="pres">
      <dgm:prSet presAssocID="{968D47F0-A487-418E-B923-34CD3BED85C9}" presName="hSp" presStyleCnt="0"/>
      <dgm:spPr/>
    </dgm:pt>
    <dgm:pt modelId="{0E28FEB4-3548-4F2E-9C20-A15EC33A8589}" type="pres">
      <dgm:prSet presAssocID="{26BDF89B-9039-4676-9C1F-53F0B3027603}" presName="vertFlow" presStyleCnt="0"/>
      <dgm:spPr/>
    </dgm:pt>
    <dgm:pt modelId="{51C5E717-F36A-401B-B684-D563E352F8A8}" type="pres">
      <dgm:prSet presAssocID="{26BDF89B-9039-4676-9C1F-53F0B3027603}" presName="header" presStyleLbl="node1" presStyleIdx="1" presStyleCnt="2"/>
      <dgm:spPr/>
    </dgm:pt>
    <dgm:pt modelId="{5F585CCB-F7EA-4B31-8858-DD5052C97165}" type="pres">
      <dgm:prSet presAssocID="{1B05DEE8-33C8-4503-8AA1-884042387C2F}" presName="parTrans" presStyleLbl="sibTrans2D1" presStyleIdx="3" presStyleCnt="5"/>
      <dgm:spPr/>
    </dgm:pt>
    <dgm:pt modelId="{B6F91476-7CF1-43E4-8A87-9A29A11AF339}" type="pres">
      <dgm:prSet presAssocID="{D1DA7FC2-E401-4D5F-B878-4AC1D1963E31}" presName="child" presStyleLbl="alignAccFollowNode1" presStyleIdx="3" presStyleCnt="5">
        <dgm:presLayoutVars>
          <dgm:chMax val="0"/>
          <dgm:bulletEnabled val="1"/>
        </dgm:presLayoutVars>
      </dgm:prSet>
      <dgm:spPr/>
    </dgm:pt>
    <dgm:pt modelId="{FC7D9924-4F47-484E-960A-9D9EFC5A6C7F}" type="pres">
      <dgm:prSet presAssocID="{923A0E32-EFF0-441B-AC78-A19774358400}" presName="sibTrans" presStyleLbl="sibTrans2D1" presStyleIdx="4" presStyleCnt="5"/>
      <dgm:spPr/>
    </dgm:pt>
    <dgm:pt modelId="{434444C6-5EFC-46C7-8051-9BB9490B9F5A}" type="pres">
      <dgm:prSet presAssocID="{BD838003-9405-4F5E-B3FF-7B06157331D3}" presName="child" presStyleLbl="alignAccFollowNode1" presStyleIdx="4" presStyleCnt="5">
        <dgm:presLayoutVars>
          <dgm:chMax val="0"/>
          <dgm:bulletEnabled val="1"/>
        </dgm:presLayoutVars>
      </dgm:prSet>
      <dgm:spPr/>
    </dgm:pt>
  </dgm:ptLst>
  <dgm:cxnLst>
    <dgm:cxn modelId="{BB17AD04-B695-4971-9BBF-7B630EC51B6E}" type="presOf" srcId="{968D47F0-A487-418E-B923-34CD3BED85C9}" destId="{83374E5D-014F-4D8E-9D66-846D06E8699C}" srcOrd="0" destOrd="0" presId="urn:microsoft.com/office/officeart/2005/8/layout/lProcess1"/>
    <dgm:cxn modelId="{F6489D14-A31C-46C5-A0DE-DE2D60147EF8}" srcId="{26BDF89B-9039-4676-9C1F-53F0B3027603}" destId="{D1DA7FC2-E401-4D5F-B878-4AC1D1963E31}" srcOrd="0" destOrd="0" parTransId="{1B05DEE8-33C8-4503-8AA1-884042387C2F}" sibTransId="{923A0E32-EFF0-441B-AC78-A19774358400}"/>
    <dgm:cxn modelId="{876A681B-911B-4BD8-84C1-1D3DE3CA8622}" type="presOf" srcId="{49761104-4867-4EB3-8A60-1693E1966369}" destId="{95CCDD5C-A3E9-4381-82B3-6F2C14527225}" srcOrd="0" destOrd="0" presId="urn:microsoft.com/office/officeart/2005/8/layout/lProcess1"/>
    <dgm:cxn modelId="{F1CC9F21-86D7-4F08-BF07-619FB0D54D4D}" srcId="{968D47F0-A487-418E-B923-34CD3BED85C9}" destId="{0E8FA76E-3753-489F-9671-C18DF097B5BF}" srcOrd="0" destOrd="0" parTransId="{82755EFB-BF9B-4E9B-9F17-5C810D36FDEC}" sibTransId="{765CEB77-6A33-41D1-B83B-0222B55F6ADC}"/>
    <dgm:cxn modelId="{1D63E326-ACCE-46C8-883C-C50D94B978FE}" srcId="{968D47F0-A487-418E-B923-34CD3BED85C9}" destId="{49761104-4867-4EB3-8A60-1693E1966369}" srcOrd="1" destOrd="0" parTransId="{7368B0EE-6359-4863-BB18-4B79C5A8A32A}" sibTransId="{12371027-2AC5-41AB-B78F-5B109823ABD5}"/>
    <dgm:cxn modelId="{8ED5413D-EF3E-41F7-8DDA-CC163CCE3347}" type="presOf" srcId="{6BEE2963-3A9D-4388-81B8-8D648E9E7790}" destId="{95FBA2C0-D334-4CDB-A700-348EFD22A478}" srcOrd="0" destOrd="0" presId="urn:microsoft.com/office/officeart/2005/8/layout/lProcess1"/>
    <dgm:cxn modelId="{E4CF675C-32C9-4D04-878C-9C96F330FC32}" type="presOf" srcId="{0E8FA76E-3753-489F-9671-C18DF097B5BF}" destId="{A4F57449-9FF4-43C5-A692-6ADF1CCBD350}" srcOrd="0" destOrd="0" presId="urn:microsoft.com/office/officeart/2005/8/layout/lProcess1"/>
    <dgm:cxn modelId="{0E743772-ECED-452D-9FE8-A6E75458A2FF}" type="presOf" srcId="{1B05DEE8-33C8-4503-8AA1-884042387C2F}" destId="{5F585CCB-F7EA-4B31-8858-DD5052C97165}" srcOrd="0" destOrd="0" presId="urn:microsoft.com/office/officeart/2005/8/layout/lProcess1"/>
    <dgm:cxn modelId="{DC36FF75-A64D-43C5-B8ED-B87096F8B12C}" srcId="{01E1DF0C-A459-49AA-8F8D-34E69D8DBE3E}" destId="{968D47F0-A487-418E-B923-34CD3BED85C9}" srcOrd="0" destOrd="0" parTransId="{955BA8EA-5BF7-4D6E-86F8-7645E2D5A339}" sibTransId="{FBB7AE93-FB90-4208-83AD-69184FA60492}"/>
    <dgm:cxn modelId="{9CC0F17E-3B2A-4368-8BF5-C8890B4AEACA}" type="presOf" srcId="{01E1DF0C-A459-49AA-8F8D-34E69D8DBE3E}" destId="{B278BDC7-C0C1-452F-8926-6F4F0035AF39}" srcOrd="0" destOrd="0" presId="urn:microsoft.com/office/officeart/2005/8/layout/lProcess1"/>
    <dgm:cxn modelId="{7F465680-FBBC-4364-A4FF-184F93DE46CA}" type="presOf" srcId="{D1DA7FC2-E401-4D5F-B878-4AC1D1963E31}" destId="{B6F91476-7CF1-43E4-8A87-9A29A11AF339}" srcOrd="0" destOrd="0" presId="urn:microsoft.com/office/officeart/2005/8/layout/lProcess1"/>
    <dgm:cxn modelId="{5619F985-9A7F-493B-B346-E084C84A5726}" srcId="{26BDF89B-9039-4676-9C1F-53F0B3027603}" destId="{BD838003-9405-4F5E-B3FF-7B06157331D3}" srcOrd="1" destOrd="0" parTransId="{FA597B63-7679-416D-83F9-7FC4B5185EB1}" sibTransId="{8B6534DF-AE60-4C05-B6AA-4F9D7D85FCD4}"/>
    <dgm:cxn modelId="{4FB39DA9-CE9D-46C7-A081-5E153390EC66}" type="presOf" srcId="{765CEB77-6A33-41D1-B83B-0222B55F6ADC}" destId="{4C2749C4-30E4-4198-ADED-06066016BC45}" srcOrd="0" destOrd="0" presId="urn:microsoft.com/office/officeart/2005/8/layout/lProcess1"/>
    <dgm:cxn modelId="{5B82BCA9-E21C-4B46-B733-E1B752B13A55}" type="presOf" srcId="{82755EFB-BF9B-4E9B-9F17-5C810D36FDEC}" destId="{A55F77FF-F5BC-472B-AAA0-C96199F4C838}" srcOrd="0" destOrd="0" presId="urn:microsoft.com/office/officeart/2005/8/layout/lProcess1"/>
    <dgm:cxn modelId="{E64535CD-C525-4119-9767-1857FB39DFC2}" type="presOf" srcId="{12371027-2AC5-41AB-B78F-5B109823ABD5}" destId="{58C4C3AD-632A-4F42-9D36-58E702C7A651}" srcOrd="0" destOrd="0" presId="urn:microsoft.com/office/officeart/2005/8/layout/lProcess1"/>
    <dgm:cxn modelId="{461876DB-182C-4AE7-8294-3AC6075A9323}" srcId="{968D47F0-A487-418E-B923-34CD3BED85C9}" destId="{6BEE2963-3A9D-4388-81B8-8D648E9E7790}" srcOrd="2" destOrd="0" parTransId="{3B133D76-A302-4FB5-81ED-F1AB9BA05C00}" sibTransId="{2285D3AA-E1AF-45A7-8D87-3CA5D01BE93B}"/>
    <dgm:cxn modelId="{B2A18DDB-B8B7-4387-87FF-068BA27E06FC}" type="presOf" srcId="{26BDF89B-9039-4676-9C1F-53F0B3027603}" destId="{51C5E717-F36A-401B-B684-D563E352F8A8}" srcOrd="0" destOrd="0" presId="urn:microsoft.com/office/officeart/2005/8/layout/lProcess1"/>
    <dgm:cxn modelId="{416E95DF-2664-48E6-AEF2-2EFD6E0C7F9C}" type="presOf" srcId="{BD838003-9405-4F5E-B3FF-7B06157331D3}" destId="{434444C6-5EFC-46C7-8051-9BB9490B9F5A}" srcOrd="0" destOrd="0" presId="urn:microsoft.com/office/officeart/2005/8/layout/lProcess1"/>
    <dgm:cxn modelId="{6E15A9EB-D8E6-4EED-BC1D-A869B8D47DAB}" type="presOf" srcId="{923A0E32-EFF0-441B-AC78-A19774358400}" destId="{FC7D9924-4F47-484E-960A-9D9EFC5A6C7F}" srcOrd="0" destOrd="0" presId="urn:microsoft.com/office/officeart/2005/8/layout/lProcess1"/>
    <dgm:cxn modelId="{0E0B2FFF-1A02-4F60-874E-13AAC69A7223}" srcId="{01E1DF0C-A459-49AA-8F8D-34E69D8DBE3E}" destId="{26BDF89B-9039-4676-9C1F-53F0B3027603}" srcOrd="1" destOrd="0" parTransId="{A356C7C9-A4E9-4C52-829E-8ECC43C45C4E}" sibTransId="{0A31CC97-DC35-475F-8925-2691AE87E44F}"/>
    <dgm:cxn modelId="{D3EDEECA-4AFA-4A9A-9220-57A57DDD395D}" type="presParOf" srcId="{B278BDC7-C0C1-452F-8926-6F4F0035AF39}" destId="{409844B6-56B4-49B3-B37B-E1DAE25F5B24}" srcOrd="0" destOrd="0" presId="urn:microsoft.com/office/officeart/2005/8/layout/lProcess1"/>
    <dgm:cxn modelId="{10A341A9-32BA-46D9-AFA9-044F432203EF}" type="presParOf" srcId="{409844B6-56B4-49B3-B37B-E1DAE25F5B24}" destId="{83374E5D-014F-4D8E-9D66-846D06E8699C}" srcOrd="0" destOrd="0" presId="urn:microsoft.com/office/officeart/2005/8/layout/lProcess1"/>
    <dgm:cxn modelId="{E3008225-52D7-4184-B806-729319D5AD5B}" type="presParOf" srcId="{409844B6-56B4-49B3-B37B-E1DAE25F5B24}" destId="{A55F77FF-F5BC-472B-AAA0-C96199F4C838}" srcOrd="1" destOrd="0" presId="urn:microsoft.com/office/officeart/2005/8/layout/lProcess1"/>
    <dgm:cxn modelId="{113C5AC9-D01B-4871-91D9-150B42A3DA06}" type="presParOf" srcId="{409844B6-56B4-49B3-B37B-E1DAE25F5B24}" destId="{A4F57449-9FF4-43C5-A692-6ADF1CCBD350}" srcOrd="2" destOrd="0" presId="urn:microsoft.com/office/officeart/2005/8/layout/lProcess1"/>
    <dgm:cxn modelId="{3AC85F22-5327-4E58-93F1-35969453A8DC}" type="presParOf" srcId="{409844B6-56B4-49B3-B37B-E1DAE25F5B24}" destId="{4C2749C4-30E4-4198-ADED-06066016BC45}" srcOrd="3" destOrd="0" presId="urn:microsoft.com/office/officeart/2005/8/layout/lProcess1"/>
    <dgm:cxn modelId="{D8D96EF8-E6B9-48E8-95FF-0D9E44935AD3}" type="presParOf" srcId="{409844B6-56B4-49B3-B37B-E1DAE25F5B24}" destId="{95CCDD5C-A3E9-4381-82B3-6F2C14527225}" srcOrd="4" destOrd="0" presId="urn:microsoft.com/office/officeart/2005/8/layout/lProcess1"/>
    <dgm:cxn modelId="{EA76F553-4A99-4612-9275-F741E9A26E2F}" type="presParOf" srcId="{409844B6-56B4-49B3-B37B-E1DAE25F5B24}" destId="{58C4C3AD-632A-4F42-9D36-58E702C7A651}" srcOrd="5" destOrd="0" presId="urn:microsoft.com/office/officeart/2005/8/layout/lProcess1"/>
    <dgm:cxn modelId="{FFBD179D-DBED-43D1-B3D9-76568F8D9F9B}" type="presParOf" srcId="{409844B6-56B4-49B3-B37B-E1DAE25F5B24}" destId="{95FBA2C0-D334-4CDB-A700-348EFD22A478}" srcOrd="6" destOrd="0" presId="urn:microsoft.com/office/officeart/2005/8/layout/lProcess1"/>
    <dgm:cxn modelId="{A08B3B3A-F590-48B6-8176-6BDB8E124593}" type="presParOf" srcId="{B278BDC7-C0C1-452F-8926-6F4F0035AF39}" destId="{14933B34-DB96-416F-817F-FFA90DBAC24F}" srcOrd="1" destOrd="0" presId="urn:microsoft.com/office/officeart/2005/8/layout/lProcess1"/>
    <dgm:cxn modelId="{D8D3D009-D7BC-492E-ADDD-1EABCCBA4B66}" type="presParOf" srcId="{B278BDC7-C0C1-452F-8926-6F4F0035AF39}" destId="{0E28FEB4-3548-4F2E-9C20-A15EC33A8589}" srcOrd="2" destOrd="0" presId="urn:microsoft.com/office/officeart/2005/8/layout/lProcess1"/>
    <dgm:cxn modelId="{C6A23FA0-E637-43E5-8CF6-C26B3E0AE122}" type="presParOf" srcId="{0E28FEB4-3548-4F2E-9C20-A15EC33A8589}" destId="{51C5E717-F36A-401B-B684-D563E352F8A8}" srcOrd="0" destOrd="0" presId="urn:microsoft.com/office/officeart/2005/8/layout/lProcess1"/>
    <dgm:cxn modelId="{F949B318-CDD1-49E0-BA8F-84FECB5B2B68}" type="presParOf" srcId="{0E28FEB4-3548-4F2E-9C20-A15EC33A8589}" destId="{5F585CCB-F7EA-4B31-8858-DD5052C97165}" srcOrd="1" destOrd="0" presId="urn:microsoft.com/office/officeart/2005/8/layout/lProcess1"/>
    <dgm:cxn modelId="{A24616BD-2101-4C3D-9A14-FBE2FC266C61}" type="presParOf" srcId="{0E28FEB4-3548-4F2E-9C20-A15EC33A8589}" destId="{B6F91476-7CF1-43E4-8A87-9A29A11AF339}" srcOrd="2" destOrd="0" presId="urn:microsoft.com/office/officeart/2005/8/layout/lProcess1"/>
    <dgm:cxn modelId="{9E8E6936-E2B9-4741-A7A7-29F99BC2E2CC}" type="presParOf" srcId="{0E28FEB4-3548-4F2E-9C20-A15EC33A8589}" destId="{FC7D9924-4F47-484E-960A-9D9EFC5A6C7F}" srcOrd="3" destOrd="0" presId="urn:microsoft.com/office/officeart/2005/8/layout/lProcess1"/>
    <dgm:cxn modelId="{48B525ED-5B49-459B-8CE5-482EDBD31FD0}" type="presParOf" srcId="{0E28FEB4-3548-4F2E-9C20-A15EC33A8589}" destId="{434444C6-5EFC-46C7-8051-9BB9490B9F5A}" srcOrd="4"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12B29A-1298-4CA1-B082-DE2EBCBFC842}">
      <dsp:nvSpPr>
        <dsp:cNvPr id="0" name=""/>
        <dsp:cNvSpPr/>
      </dsp:nvSpPr>
      <dsp:spPr>
        <a:xfrm>
          <a:off x="1173198" y="292"/>
          <a:ext cx="4212801" cy="1053200"/>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1: Introduction to Azure SQL</a:t>
          </a:r>
        </a:p>
      </dsp:txBody>
      <dsp:txXfrm>
        <a:off x="1204045" y="31139"/>
        <a:ext cx="4151107" cy="991506"/>
      </dsp:txXfrm>
    </dsp:sp>
    <dsp:sp modelId="{BCF584E2-F50C-4956-9C0F-A97B50BF67F9}">
      <dsp:nvSpPr>
        <dsp:cNvPr id="0" name=""/>
        <dsp:cNvSpPr/>
      </dsp:nvSpPr>
      <dsp:spPr>
        <a:xfrm rot="5400000">
          <a:off x="3187444" y="1145647"/>
          <a:ext cx="184310" cy="184310"/>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01EBAA62-4162-48AC-B487-5E13A5475365}">
      <dsp:nvSpPr>
        <dsp:cNvPr id="0" name=""/>
        <dsp:cNvSpPr/>
      </dsp:nvSpPr>
      <dsp:spPr>
        <a:xfrm>
          <a:off x="1173198" y="1422112"/>
          <a:ext cx="4212801" cy="1053200"/>
        </a:xfrm>
        <a:prstGeom prst="roundRect">
          <a:avLst>
            <a:gd name="adj" fmla="val 1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Basic Concepts of Azure SQL</a:t>
          </a:r>
        </a:p>
      </dsp:txBody>
      <dsp:txXfrm>
        <a:off x="1204045" y="1452959"/>
        <a:ext cx="4151107" cy="991506"/>
      </dsp:txXfrm>
    </dsp:sp>
    <dsp:sp modelId="{F10B6D35-9DDD-4FC3-A9B3-592F3C9A3404}">
      <dsp:nvSpPr>
        <dsp:cNvPr id="0" name=""/>
        <dsp:cNvSpPr/>
      </dsp:nvSpPr>
      <dsp:spPr>
        <a:xfrm rot="5400000">
          <a:off x="3187444" y="2567467"/>
          <a:ext cx="184310" cy="184310"/>
        </a:xfrm>
        <a:prstGeom prst="rightArrow">
          <a:avLst>
            <a:gd name="adj1" fmla="val 66700"/>
            <a:gd name="adj2" fmla="val 50000"/>
          </a:avLst>
        </a:prstGeom>
        <a:solidFill>
          <a:schemeClr val="accent2">
            <a:hueOff val="-666874"/>
            <a:satOff val="13846"/>
            <a:lumOff val="147"/>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70D8A30F-77EC-4296-A31A-59B3BD3FAAA9}">
      <dsp:nvSpPr>
        <dsp:cNvPr id="0" name=""/>
        <dsp:cNvSpPr/>
      </dsp:nvSpPr>
      <dsp:spPr>
        <a:xfrm>
          <a:off x="1173198" y="2843933"/>
          <a:ext cx="4212801" cy="1053200"/>
        </a:xfrm>
        <a:prstGeom prst="roundRect">
          <a:avLst>
            <a:gd name="adj" fmla="val 10000"/>
          </a:avLst>
        </a:prstGeom>
        <a:solidFill>
          <a:schemeClr val="accent2">
            <a:tint val="40000"/>
            <a:alpha val="90000"/>
            <a:hueOff val="-872129"/>
            <a:satOff val="2332"/>
            <a:lumOff val="288"/>
            <a:alphaOff val="0"/>
          </a:schemeClr>
        </a:solidFill>
        <a:ln w="12700" cap="flat" cmpd="sng" algn="ctr">
          <a:solidFill>
            <a:schemeClr val="accent2">
              <a:tint val="40000"/>
              <a:alpha val="90000"/>
              <a:hueOff val="-872129"/>
              <a:satOff val="2332"/>
              <a:lumOff val="2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zure SQL Databases</a:t>
          </a:r>
        </a:p>
      </dsp:txBody>
      <dsp:txXfrm>
        <a:off x="1204045" y="2874780"/>
        <a:ext cx="4151107" cy="991506"/>
      </dsp:txXfrm>
    </dsp:sp>
    <dsp:sp modelId="{79687A28-7933-40FE-B90E-1BF426CEEBE9}">
      <dsp:nvSpPr>
        <dsp:cNvPr id="0" name=""/>
        <dsp:cNvSpPr/>
      </dsp:nvSpPr>
      <dsp:spPr>
        <a:xfrm>
          <a:off x="5975792" y="292"/>
          <a:ext cx="4212801" cy="1053200"/>
        </a:xfrm>
        <a:prstGeom prst="roundRect">
          <a:avLst>
            <a:gd name="adj" fmla="val 10000"/>
          </a:avLst>
        </a:prstGeom>
        <a:solidFill>
          <a:schemeClr val="accent2">
            <a:hueOff val="-2667497"/>
            <a:satOff val="55382"/>
            <a:lumOff val="58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2: SQL Server Architecture</a:t>
          </a:r>
        </a:p>
      </dsp:txBody>
      <dsp:txXfrm>
        <a:off x="6006639" y="31139"/>
        <a:ext cx="4151107" cy="991506"/>
      </dsp:txXfrm>
    </dsp:sp>
    <dsp:sp modelId="{0024E3D4-969F-4562-B6F1-432DAB602984}">
      <dsp:nvSpPr>
        <dsp:cNvPr id="0" name=""/>
        <dsp:cNvSpPr/>
      </dsp:nvSpPr>
      <dsp:spPr>
        <a:xfrm rot="5400000">
          <a:off x="7990037" y="1145647"/>
          <a:ext cx="184310" cy="184310"/>
        </a:xfrm>
        <a:prstGeom prst="rightArrow">
          <a:avLst>
            <a:gd name="adj1" fmla="val 66700"/>
            <a:gd name="adj2" fmla="val 50000"/>
          </a:avLst>
        </a:prstGeom>
        <a:solidFill>
          <a:schemeClr val="accent2">
            <a:hueOff val="-1333748"/>
            <a:satOff val="27691"/>
            <a:lumOff val="294"/>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A7104F3A-6625-4D19-A900-803AF04F48D1}">
      <dsp:nvSpPr>
        <dsp:cNvPr id="0" name=""/>
        <dsp:cNvSpPr/>
      </dsp:nvSpPr>
      <dsp:spPr>
        <a:xfrm>
          <a:off x="5975792" y="1422112"/>
          <a:ext cx="4212801" cy="1053200"/>
        </a:xfrm>
        <a:prstGeom prst="roundRect">
          <a:avLst>
            <a:gd name="adj" fmla="val 10000"/>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Operating System</a:t>
          </a:r>
        </a:p>
      </dsp:txBody>
      <dsp:txXfrm>
        <a:off x="6006639" y="1452959"/>
        <a:ext cx="4151107" cy="991506"/>
      </dsp:txXfrm>
    </dsp:sp>
    <dsp:sp modelId="{B668CADA-40A7-4DA8-8557-13CA6A501E83}">
      <dsp:nvSpPr>
        <dsp:cNvPr id="0" name=""/>
        <dsp:cNvSpPr/>
      </dsp:nvSpPr>
      <dsp:spPr>
        <a:xfrm rot="5400000">
          <a:off x="7990037" y="2567467"/>
          <a:ext cx="184310" cy="184310"/>
        </a:xfrm>
        <a:prstGeom prst="rightArrow">
          <a:avLst>
            <a:gd name="adj1" fmla="val 66700"/>
            <a:gd name="adj2" fmla="val 50000"/>
          </a:avLst>
        </a:prstGeom>
        <a:solidFill>
          <a:schemeClr val="accent2">
            <a:hueOff val="-2000623"/>
            <a:satOff val="41537"/>
            <a:lumOff val="441"/>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106C2846-DE02-40A4-A05F-80CAD2B38434}">
      <dsp:nvSpPr>
        <dsp:cNvPr id="0" name=""/>
        <dsp:cNvSpPr/>
      </dsp:nvSpPr>
      <dsp:spPr>
        <a:xfrm>
          <a:off x="5975792" y="2843933"/>
          <a:ext cx="4212801" cy="1053200"/>
        </a:xfrm>
        <a:prstGeom prst="roundRect">
          <a:avLst>
            <a:gd name="adj" fmla="val 10000"/>
          </a:avLst>
        </a:prstGeom>
        <a:solidFill>
          <a:schemeClr val="accent2">
            <a:tint val="40000"/>
            <a:alpha val="90000"/>
            <a:hueOff val="-2616388"/>
            <a:satOff val="6995"/>
            <a:lumOff val="865"/>
            <a:alphaOff val="0"/>
          </a:schemeClr>
        </a:solidFill>
        <a:ln w="12700" cap="flat" cmpd="sng" algn="ctr">
          <a:solidFill>
            <a:schemeClr val="accent2">
              <a:tint val="40000"/>
              <a:alpha val="90000"/>
              <a:hueOff val="-2616388"/>
              <a:satOff val="6995"/>
              <a:lumOff val="8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Waits and Queues</a:t>
          </a:r>
        </a:p>
      </dsp:txBody>
      <dsp:txXfrm>
        <a:off x="6006639" y="2874780"/>
        <a:ext cx="4151107" cy="991506"/>
      </dsp:txXfrm>
    </dsp:sp>
    <dsp:sp modelId="{CAD4C354-5DF3-4CED-8B99-E84341440F71}">
      <dsp:nvSpPr>
        <dsp:cNvPr id="0" name=""/>
        <dsp:cNvSpPr/>
      </dsp:nvSpPr>
      <dsp:spPr>
        <a:xfrm rot="5400000">
          <a:off x="7990037" y="3989288"/>
          <a:ext cx="184310" cy="184310"/>
        </a:xfrm>
        <a:prstGeom prst="rightArrow">
          <a:avLst>
            <a:gd name="adj1" fmla="val 66700"/>
            <a:gd name="adj2" fmla="val 50000"/>
          </a:avLst>
        </a:prstGeom>
        <a:solidFill>
          <a:schemeClr val="accent2">
            <a:hueOff val="-2667497"/>
            <a:satOff val="55382"/>
            <a:lumOff val="588"/>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E2C61590-1DD1-41A9-A70A-3CB0F35DE6F1}">
      <dsp:nvSpPr>
        <dsp:cNvPr id="0" name=""/>
        <dsp:cNvSpPr/>
      </dsp:nvSpPr>
      <dsp:spPr>
        <a:xfrm>
          <a:off x="5975792" y="4265753"/>
          <a:ext cx="4212801" cy="1053200"/>
        </a:xfrm>
        <a:prstGeom prst="roundRect">
          <a:avLst>
            <a:gd name="adj" fmla="val 1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I/O</a:t>
          </a:r>
        </a:p>
      </dsp:txBody>
      <dsp:txXfrm>
        <a:off x="6006639" y="4296600"/>
        <a:ext cx="4151107" cy="9915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E482F8-6E05-453E-8A34-D692ECC99589}">
      <dsp:nvSpPr>
        <dsp:cNvPr id="0" name=""/>
        <dsp:cNvSpPr/>
      </dsp:nvSpPr>
      <dsp:spPr>
        <a:xfrm>
          <a:off x="1173198" y="292"/>
          <a:ext cx="4212801" cy="10532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3: SQL Server Transactions and Concurrency</a:t>
          </a:r>
        </a:p>
      </dsp:txBody>
      <dsp:txXfrm>
        <a:off x="1204045" y="31139"/>
        <a:ext cx="4151107" cy="991506"/>
      </dsp:txXfrm>
    </dsp:sp>
    <dsp:sp modelId="{217EDA0E-4729-47B3-8156-66D175A0FE16}">
      <dsp:nvSpPr>
        <dsp:cNvPr id="0" name=""/>
        <dsp:cNvSpPr/>
      </dsp:nvSpPr>
      <dsp:spPr>
        <a:xfrm rot="5400000">
          <a:off x="3187444" y="1145647"/>
          <a:ext cx="184310" cy="184310"/>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10722C-077A-43D2-8B37-E38CAFCB0F53}">
      <dsp:nvSpPr>
        <dsp:cNvPr id="0" name=""/>
        <dsp:cNvSpPr/>
      </dsp:nvSpPr>
      <dsp:spPr>
        <a:xfrm>
          <a:off x="1173198" y="1422112"/>
          <a:ext cx="4212801" cy="1053200"/>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Transactions</a:t>
          </a:r>
        </a:p>
      </dsp:txBody>
      <dsp:txXfrm>
        <a:off x="1204045" y="1452959"/>
        <a:ext cx="4151107" cy="991506"/>
      </dsp:txXfrm>
    </dsp:sp>
    <dsp:sp modelId="{B4C7C0A9-0FC7-43D3-9F18-19E92C3CBFFB}">
      <dsp:nvSpPr>
        <dsp:cNvPr id="0" name=""/>
        <dsp:cNvSpPr/>
      </dsp:nvSpPr>
      <dsp:spPr>
        <a:xfrm rot="5400000">
          <a:off x="3187444" y="2567467"/>
          <a:ext cx="184310" cy="184310"/>
        </a:xfrm>
        <a:prstGeom prst="rightArrow">
          <a:avLst>
            <a:gd name="adj1" fmla="val 66700"/>
            <a:gd name="adj2" fmla="val 50000"/>
          </a:avLst>
        </a:prstGeom>
        <a:solidFill>
          <a:schemeClr val="accent3">
            <a:hueOff val="403574"/>
            <a:satOff val="0"/>
            <a:lumOff val="2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FFCF655-45BC-467D-8C97-273452B9B402}">
      <dsp:nvSpPr>
        <dsp:cNvPr id="0" name=""/>
        <dsp:cNvSpPr/>
      </dsp:nvSpPr>
      <dsp:spPr>
        <a:xfrm>
          <a:off x="1173198" y="2843933"/>
          <a:ext cx="4212801" cy="1053200"/>
        </a:xfrm>
        <a:prstGeom prst="roundRect">
          <a:avLst>
            <a:gd name="adj" fmla="val 10000"/>
          </a:avLst>
        </a:prstGeom>
        <a:solidFill>
          <a:schemeClr val="accent3">
            <a:tint val="40000"/>
            <a:alpha val="90000"/>
            <a:hueOff val="672530"/>
            <a:satOff val="3931"/>
            <a:lumOff val="512"/>
            <a:alphaOff val="0"/>
          </a:schemeClr>
        </a:solidFill>
        <a:ln w="12700" cap="flat" cmpd="sng" algn="ctr">
          <a:solidFill>
            <a:schemeClr val="accent3">
              <a:tint val="40000"/>
              <a:alpha val="90000"/>
              <a:hueOff val="672530"/>
              <a:satOff val="3931"/>
              <a:lumOff val="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Locking</a:t>
          </a:r>
        </a:p>
      </dsp:txBody>
      <dsp:txXfrm>
        <a:off x="1204045" y="2874780"/>
        <a:ext cx="4151107" cy="991506"/>
      </dsp:txXfrm>
    </dsp:sp>
    <dsp:sp modelId="{544AAD2C-E2CF-423C-BFCB-E6F580A4482A}">
      <dsp:nvSpPr>
        <dsp:cNvPr id="0" name=""/>
        <dsp:cNvSpPr/>
      </dsp:nvSpPr>
      <dsp:spPr>
        <a:xfrm rot="5400000">
          <a:off x="3187444" y="3989288"/>
          <a:ext cx="184310" cy="184310"/>
        </a:xfrm>
        <a:prstGeom prst="rightArrow">
          <a:avLst>
            <a:gd name="adj1" fmla="val 66700"/>
            <a:gd name="adj2" fmla="val 50000"/>
          </a:avLst>
        </a:prstGeom>
        <a:solidFill>
          <a:schemeClr val="accent3">
            <a:hueOff val="807148"/>
            <a:satOff val="0"/>
            <a:lumOff val="4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3A4938-5385-4A97-9E7E-ED34C05F4BEE}">
      <dsp:nvSpPr>
        <dsp:cNvPr id="0" name=""/>
        <dsp:cNvSpPr/>
      </dsp:nvSpPr>
      <dsp:spPr>
        <a:xfrm>
          <a:off x="1173198" y="4265753"/>
          <a:ext cx="4212801" cy="1053200"/>
        </a:xfrm>
        <a:prstGeom prst="roundRect">
          <a:avLst>
            <a:gd name="adj" fmla="val 10000"/>
          </a:avLst>
        </a:prstGeom>
        <a:solidFill>
          <a:schemeClr val="accent3">
            <a:tint val="40000"/>
            <a:alpha val="90000"/>
            <a:hueOff val="1345059"/>
            <a:satOff val="7863"/>
            <a:lumOff val="1025"/>
            <a:alphaOff val="0"/>
          </a:schemeClr>
        </a:solidFill>
        <a:ln w="12700" cap="flat" cmpd="sng" algn="ctr">
          <a:solidFill>
            <a:schemeClr val="accent3">
              <a:tint val="40000"/>
              <a:alpha val="90000"/>
              <a:hueOff val="1345059"/>
              <a:satOff val="7863"/>
              <a:lumOff val="102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Blocking and Deadlocking</a:t>
          </a:r>
        </a:p>
      </dsp:txBody>
      <dsp:txXfrm>
        <a:off x="1204045" y="4296600"/>
        <a:ext cx="4151107" cy="991506"/>
      </dsp:txXfrm>
    </dsp:sp>
    <dsp:sp modelId="{09D93175-1068-4A6F-BAC2-BB0F74D90CF6}">
      <dsp:nvSpPr>
        <dsp:cNvPr id="0" name=""/>
        <dsp:cNvSpPr/>
      </dsp:nvSpPr>
      <dsp:spPr>
        <a:xfrm>
          <a:off x="5975792" y="292"/>
          <a:ext cx="4212801" cy="1053200"/>
        </a:xfrm>
        <a:prstGeom prst="roundRect">
          <a:avLst>
            <a:gd name="adj" fmla="val 10000"/>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4: SQL Server Indexing and Statistics</a:t>
          </a:r>
        </a:p>
      </dsp:txBody>
      <dsp:txXfrm>
        <a:off x="6006639" y="31139"/>
        <a:ext cx="4151107" cy="991506"/>
      </dsp:txXfrm>
    </dsp:sp>
    <dsp:sp modelId="{7A748C2F-19F1-441D-9BED-65D04F182F80}">
      <dsp:nvSpPr>
        <dsp:cNvPr id="0" name=""/>
        <dsp:cNvSpPr/>
      </dsp:nvSpPr>
      <dsp:spPr>
        <a:xfrm rot="5400000">
          <a:off x="7990037" y="1145647"/>
          <a:ext cx="184310" cy="184310"/>
        </a:xfrm>
        <a:prstGeom prst="rightArrow">
          <a:avLst>
            <a:gd name="adj1" fmla="val 66700"/>
            <a:gd name="adj2" fmla="val 50000"/>
          </a:avLst>
        </a:prstGeom>
        <a:solidFill>
          <a:schemeClr val="accent3">
            <a:hueOff val="1210722"/>
            <a:satOff val="0"/>
            <a:lumOff val="6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A1C6F43-1770-4895-A44B-AC70CDFF8BD4}">
      <dsp:nvSpPr>
        <dsp:cNvPr id="0" name=""/>
        <dsp:cNvSpPr/>
      </dsp:nvSpPr>
      <dsp:spPr>
        <a:xfrm>
          <a:off x="5975792" y="1422112"/>
          <a:ext cx="4212801" cy="1053200"/>
        </a:xfrm>
        <a:prstGeom prst="roundRect">
          <a:avLst>
            <a:gd name="adj" fmla="val 10000"/>
          </a:avLst>
        </a:prstGeom>
        <a:solidFill>
          <a:schemeClr val="accent3">
            <a:tint val="40000"/>
            <a:alpha val="90000"/>
            <a:hueOff val="2017589"/>
            <a:satOff val="11794"/>
            <a:lumOff val="1537"/>
            <a:alphaOff val="0"/>
          </a:schemeClr>
        </a:solidFill>
        <a:ln w="12700" cap="flat" cmpd="sng" algn="ctr">
          <a:solidFill>
            <a:schemeClr val="accent3">
              <a:tint val="40000"/>
              <a:alpha val="90000"/>
              <a:hueOff val="2017589"/>
              <a:satOff val="11794"/>
              <a:lumOff val="15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Indexing</a:t>
          </a:r>
        </a:p>
      </dsp:txBody>
      <dsp:txXfrm>
        <a:off x="6006639" y="1452959"/>
        <a:ext cx="4151107" cy="991506"/>
      </dsp:txXfrm>
    </dsp:sp>
    <dsp:sp modelId="{97EA865B-1271-4667-988F-AFB9CF81459C}">
      <dsp:nvSpPr>
        <dsp:cNvPr id="0" name=""/>
        <dsp:cNvSpPr/>
      </dsp:nvSpPr>
      <dsp:spPr>
        <a:xfrm rot="5400000">
          <a:off x="7990037" y="2567467"/>
          <a:ext cx="184310" cy="184310"/>
        </a:xfrm>
        <a:prstGeom prst="rightArrow">
          <a:avLst>
            <a:gd name="adj1" fmla="val 66700"/>
            <a:gd name="adj2" fmla="val 50000"/>
          </a:avLst>
        </a:prstGeom>
        <a:solidFill>
          <a:schemeClr val="accent3">
            <a:hueOff val="1614296"/>
            <a:satOff val="0"/>
            <a:lumOff val="8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EDF2D89-4CAC-4F86-8EC4-1E3862D99294}">
      <dsp:nvSpPr>
        <dsp:cNvPr id="0" name=""/>
        <dsp:cNvSpPr/>
      </dsp:nvSpPr>
      <dsp:spPr>
        <a:xfrm>
          <a:off x="5975792" y="2843933"/>
          <a:ext cx="4212801" cy="1053200"/>
        </a:xfrm>
        <a:prstGeom prst="roundRect">
          <a:avLst>
            <a:gd name="adj" fmla="val 10000"/>
          </a:avLst>
        </a:prstGeom>
        <a:solidFill>
          <a:schemeClr val="accent3">
            <a:tint val="40000"/>
            <a:alpha val="90000"/>
            <a:hueOff val="2690119"/>
            <a:satOff val="15726"/>
            <a:lumOff val="2050"/>
            <a:alphaOff val="0"/>
          </a:schemeClr>
        </a:solidFill>
        <a:ln w="12700" cap="flat" cmpd="sng" algn="ctr">
          <a:solidFill>
            <a:schemeClr val="accent3">
              <a:tint val="40000"/>
              <a:alpha val="90000"/>
              <a:hueOff val="2690119"/>
              <a:satOff val="15726"/>
              <a:lumOff val="205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Indexing Strategies and Monitoring</a:t>
          </a:r>
        </a:p>
      </dsp:txBody>
      <dsp:txXfrm>
        <a:off x="6006639" y="2874780"/>
        <a:ext cx="4151107" cy="991506"/>
      </dsp:txXfrm>
    </dsp:sp>
    <dsp:sp modelId="{12C8D2A7-DEF3-45DA-B3C8-9E82A2FC004D}">
      <dsp:nvSpPr>
        <dsp:cNvPr id="0" name=""/>
        <dsp:cNvSpPr/>
      </dsp:nvSpPr>
      <dsp:spPr>
        <a:xfrm rot="5400000">
          <a:off x="7990037" y="3989288"/>
          <a:ext cx="184310" cy="184310"/>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5BC526-B0B4-4FC1-A456-D9D57FB1FF1B}">
      <dsp:nvSpPr>
        <dsp:cNvPr id="0" name=""/>
        <dsp:cNvSpPr/>
      </dsp:nvSpPr>
      <dsp:spPr>
        <a:xfrm>
          <a:off x="5975792" y="4265753"/>
          <a:ext cx="4212801" cy="1053200"/>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Statistics</a:t>
          </a:r>
        </a:p>
      </dsp:txBody>
      <dsp:txXfrm>
        <a:off x="6006639" y="4296600"/>
        <a:ext cx="4151107" cy="9915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374E5D-014F-4D8E-9D66-846D06E8699C}">
      <dsp:nvSpPr>
        <dsp:cNvPr id="0" name=""/>
        <dsp:cNvSpPr/>
      </dsp:nvSpPr>
      <dsp:spPr>
        <a:xfrm>
          <a:off x="1173198" y="292"/>
          <a:ext cx="4212801" cy="10532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Module 5: SQL Server Query Execution and Plans</a:t>
          </a:r>
        </a:p>
      </dsp:txBody>
      <dsp:txXfrm>
        <a:off x="1204045" y="31139"/>
        <a:ext cx="4151107" cy="991506"/>
      </dsp:txXfrm>
    </dsp:sp>
    <dsp:sp modelId="{A55F77FF-F5BC-472B-AAA0-C96199F4C838}">
      <dsp:nvSpPr>
        <dsp:cNvPr id="0" name=""/>
        <dsp:cNvSpPr/>
      </dsp:nvSpPr>
      <dsp:spPr>
        <a:xfrm rot="5400000">
          <a:off x="3187444" y="1145647"/>
          <a:ext cx="184310" cy="184310"/>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4F57449-9FF4-43C5-A692-6ADF1CCBD350}">
      <dsp:nvSpPr>
        <dsp:cNvPr id="0" name=""/>
        <dsp:cNvSpPr/>
      </dsp:nvSpPr>
      <dsp:spPr>
        <a:xfrm>
          <a:off x="1173198" y="1422112"/>
          <a:ext cx="4212801" cy="1053200"/>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SQL Server Query Execution and Plan Analysis</a:t>
          </a:r>
        </a:p>
      </dsp:txBody>
      <dsp:txXfrm>
        <a:off x="1204045" y="1452959"/>
        <a:ext cx="4151107" cy="991506"/>
      </dsp:txXfrm>
    </dsp:sp>
    <dsp:sp modelId="{4C2749C4-30E4-4198-ADED-06066016BC45}">
      <dsp:nvSpPr>
        <dsp:cNvPr id="0" name=""/>
        <dsp:cNvSpPr/>
      </dsp:nvSpPr>
      <dsp:spPr>
        <a:xfrm rot="5400000">
          <a:off x="3187444" y="2567467"/>
          <a:ext cx="184310" cy="184310"/>
        </a:xfrm>
        <a:prstGeom prst="rightArrow">
          <a:avLst>
            <a:gd name="adj1" fmla="val 66700"/>
            <a:gd name="adj2" fmla="val 50000"/>
          </a:avLst>
        </a:prstGeom>
        <a:solidFill>
          <a:schemeClr val="accent3">
            <a:hueOff val="504467"/>
            <a:satOff val="0"/>
            <a:lumOff val="25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CCDD5C-A3E9-4381-82B3-6F2C14527225}">
      <dsp:nvSpPr>
        <dsp:cNvPr id="0" name=""/>
        <dsp:cNvSpPr/>
      </dsp:nvSpPr>
      <dsp:spPr>
        <a:xfrm>
          <a:off x="1173198" y="2843933"/>
          <a:ext cx="4212801" cy="1053200"/>
        </a:xfrm>
        <a:prstGeom prst="roundRect">
          <a:avLst>
            <a:gd name="adj" fmla="val 10000"/>
          </a:avLst>
        </a:prstGeom>
        <a:solidFill>
          <a:schemeClr val="accent3">
            <a:tint val="40000"/>
            <a:alpha val="90000"/>
            <a:hueOff val="840662"/>
            <a:satOff val="4914"/>
            <a:lumOff val="641"/>
            <a:alphaOff val="0"/>
          </a:schemeClr>
        </a:solidFill>
        <a:ln w="12700" cap="flat" cmpd="sng" algn="ctr">
          <a:solidFill>
            <a:schemeClr val="accent3">
              <a:tint val="40000"/>
              <a:alpha val="90000"/>
              <a:hueOff val="840662"/>
              <a:satOff val="4914"/>
              <a:lumOff val="64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SQL Server Plan Cache Internals</a:t>
          </a:r>
        </a:p>
      </dsp:txBody>
      <dsp:txXfrm>
        <a:off x="1204045" y="2874780"/>
        <a:ext cx="4151107" cy="991506"/>
      </dsp:txXfrm>
    </dsp:sp>
    <dsp:sp modelId="{58C4C3AD-632A-4F42-9D36-58E702C7A651}">
      <dsp:nvSpPr>
        <dsp:cNvPr id="0" name=""/>
        <dsp:cNvSpPr/>
      </dsp:nvSpPr>
      <dsp:spPr>
        <a:xfrm rot="5400000">
          <a:off x="3187444" y="3989288"/>
          <a:ext cx="184310" cy="184310"/>
        </a:xfrm>
        <a:prstGeom prst="rightArrow">
          <a:avLst>
            <a:gd name="adj1" fmla="val 66700"/>
            <a:gd name="adj2" fmla="val 50000"/>
          </a:avLst>
        </a:prstGeom>
        <a:solidFill>
          <a:schemeClr val="accent3">
            <a:hueOff val="1008935"/>
            <a:satOff val="0"/>
            <a:lumOff val="5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FBA2C0-D334-4CDB-A700-348EFD22A478}">
      <dsp:nvSpPr>
        <dsp:cNvPr id="0" name=""/>
        <dsp:cNvSpPr/>
      </dsp:nvSpPr>
      <dsp:spPr>
        <a:xfrm>
          <a:off x="1173198" y="4265753"/>
          <a:ext cx="4212801" cy="1053200"/>
        </a:xfrm>
        <a:prstGeom prst="roundRect">
          <a:avLst>
            <a:gd name="adj" fmla="val 10000"/>
          </a:avLst>
        </a:prstGeom>
        <a:solidFill>
          <a:schemeClr val="accent3">
            <a:tint val="40000"/>
            <a:alpha val="90000"/>
            <a:hueOff val="1681324"/>
            <a:satOff val="9829"/>
            <a:lumOff val="1281"/>
            <a:alphaOff val="0"/>
          </a:schemeClr>
        </a:solidFill>
        <a:ln w="12700" cap="flat" cmpd="sng" algn="ctr">
          <a:solidFill>
            <a:schemeClr val="accent3">
              <a:tint val="40000"/>
              <a:alpha val="90000"/>
              <a:hueOff val="1681324"/>
              <a:satOff val="9829"/>
              <a:lumOff val="12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Troubleshooting with Query Store</a:t>
          </a:r>
        </a:p>
      </dsp:txBody>
      <dsp:txXfrm>
        <a:off x="1204045" y="4296600"/>
        <a:ext cx="4151107" cy="991506"/>
      </dsp:txXfrm>
    </dsp:sp>
    <dsp:sp modelId="{51C5E717-F36A-401B-B684-D563E352F8A8}">
      <dsp:nvSpPr>
        <dsp:cNvPr id="0" name=""/>
        <dsp:cNvSpPr/>
      </dsp:nvSpPr>
      <dsp:spPr>
        <a:xfrm>
          <a:off x="5975792" y="292"/>
          <a:ext cx="4212801" cy="1053200"/>
        </a:xfrm>
        <a:prstGeom prst="roundRect">
          <a:avLst>
            <a:gd name="adj" fmla="val 10000"/>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Module 6: Azure SQL Performance Tuning</a:t>
          </a:r>
        </a:p>
      </dsp:txBody>
      <dsp:txXfrm>
        <a:off x="6006639" y="31139"/>
        <a:ext cx="4151107" cy="991506"/>
      </dsp:txXfrm>
    </dsp:sp>
    <dsp:sp modelId="{5F585CCB-F7EA-4B31-8858-DD5052C97165}">
      <dsp:nvSpPr>
        <dsp:cNvPr id="0" name=""/>
        <dsp:cNvSpPr/>
      </dsp:nvSpPr>
      <dsp:spPr>
        <a:xfrm rot="5400000">
          <a:off x="7990037" y="1145647"/>
          <a:ext cx="184310" cy="184310"/>
        </a:xfrm>
        <a:prstGeom prst="rightArrow">
          <a:avLst>
            <a:gd name="adj1" fmla="val 66700"/>
            <a:gd name="adj2" fmla="val 50000"/>
          </a:avLst>
        </a:prstGeom>
        <a:solidFill>
          <a:schemeClr val="accent3">
            <a:hueOff val="1513402"/>
            <a:satOff val="0"/>
            <a:lumOff val="75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6F91476-7CF1-43E4-8A87-9A29A11AF339}">
      <dsp:nvSpPr>
        <dsp:cNvPr id="0" name=""/>
        <dsp:cNvSpPr/>
      </dsp:nvSpPr>
      <dsp:spPr>
        <a:xfrm>
          <a:off x="5975792" y="1422112"/>
          <a:ext cx="4212801" cy="1053200"/>
        </a:xfrm>
        <a:prstGeom prst="roundRect">
          <a:avLst>
            <a:gd name="adj" fmla="val 10000"/>
          </a:avLst>
        </a:prstGeom>
        <a:solidFill>
          <a:schemeClr val="accent3">
            <a:tint val="40000"/>
            <a:alpha val="90000"/>
            <a:hueOff val="2521986"/>
            <a:satOff val="14743"/>
            <a:lumOff val="1922"/>
            <a:alphaOff val="0"/>
          </a:schemeClr>
        </a:solidFill>
        <a:ln w="12700" cap="flat" cmpd="sng" algn="ctr">
          <a:solidFill>
            <a:schemeClr val="accent3">
              <a:tint val="40000"/>
              <a:alpha val="90000"/>
              <a:hueOff val="2521986"/>
              <a:satOff val="14743"/>
              <a:lumOff val="192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Query Performance Insights</a:t>
          </a:r>
        </a:p>
      </dsp:txBody>
      <dsp:txXfrm>
        <a:off x="6006639" y="1452959"/>
        <a:ext cx="4151107" cy="991506"/>
      </dsp:txXfrm>
    </dsp:sp>
    <dsp:sp modelId="{FC7D9924-4F47-484E-960A-9D9EFC5A6C7F}">
      <dsp:nvSpPr>
        <dsp:cNvPr id="0" name=""/>
        <dsp:cNvSpPr/>
      </dsp:nvSpPr>
      <dsp:spPr>
        <a:xfrm rot="5400000">
          <a:off x="7990037" y="2567467"/>
          <a:ext cx="184310" cy="184310"/>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34444C6-5EFC-46C7-8051-9BB9490B9F5A}">
      <dsp:nvSpPr>
        <dsp:cNvPr id="0" name=""/>
        <dsp:cNvSpPr/>
      </dsp:nvSpPr>
      <dsp:spPr>
        <a:xfrm>
          <a:off x="5975792" y="2843933"/>
          <a:ext cx="4212801" cy="1053200"/>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Automatic Tuning in Azure SQL</a:t>
          </a:r>
        </a:p>
      </dsp:txBody>
      <dsp:txXfrm>
        <a:off x="6006639" y="2874780"/>
        <a:ext cx="4151107" cy="99150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8/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510071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985519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927437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7/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7</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8/17/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0"/>
            <a:ext cx="12448814" cy="6989885"/>
          </a:xfrm>
          <a:prstGeom prst="rect">
            <a:avLst/>
          </a:prstGeom>
        </p:spPr>
      </p:pic>
      <p:sp>
        <p:nvSpPr>
          <p:cNvPr id="10" name="Rectangle 9"/>
          <p:cNvSpPr/>
          <p:nvPr userDrawn="1"/>
        </p:nvSpPr>
        <p:spPr bwMode="auto">
          <a:xfrm>
            <a:off x="-104413" y="3"/>
            <a:ext cx="9286514" cy="6989882"/>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0" rIns="0" bIns="46620" numCol="1" rtlCol="0" anchor="ctr" anchorCtr="0" compatLnSpc="1">
            <a:prstTxWarp prst="textNoShape">
              <a:avLst/>
            </a:prstTxWarp>
          </a:bodyPr>
          <a:lstStyle/>
          <a:p>
            <a:pPr algn="ctr" defTabSz="913666"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206593" cy="3642658"/>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5" y="1404307"/>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5" y="319993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3013938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5036CF68-B123-4DCD-983A-66FEC7DF02A3}"/>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51671036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446792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01676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6470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103831"/>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783253"/>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415928332"/>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79217521"/>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909686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1CDB8115-D0CC-48E6-B152-8CE09DAA0CB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5923506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54D4BB85-3FDB-4F40-B262-2B4528CEF11D}"/>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70056091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1CBF1975-CCF9-4EDD-A56E-A5F1F121D661}"/>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0001685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43764FA7-CF73-42CF-B891-8FED625CE161}"/>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5227581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F49318DB-7D92-4444-9EA0-0BC21DE83BFC}"/>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62599616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EA38204D-680A-4BEB-8BC7-5A4BD743B36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162436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54721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18736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0208671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40880744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41107066"/>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693473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3626952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1152631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16162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7583457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8966137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823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897900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2219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7929732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74419319"/>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3608010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0653195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958385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6211960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633211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486422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828794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38493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92175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87395477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1550345"/>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7331544"/>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2917205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293748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504334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5252402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177060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782523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1761723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2212103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C8186F1A-0EF8-4C34-8D95-C79BFA98A42E}"/>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633884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718848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2286630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29828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1143128"/>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35734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479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0184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700192"/>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72740709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680095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082C088D-CF51-4106-A89F-92A00DA4E3E2}"/>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48339278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248789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933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3625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65873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5966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6335499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847808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842803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565536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5177339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5">
            <a:extLst>
              <a:ext uri="{FF2B5EF4-FFF2-40B4-BE49-F238E27FC236}">
                <a16:creationId xmlns:a16="http://schemas.microsoft.com/office/drawing/2014/main" id="{BFBDD1FF-22F7-4296-825E-B60DB091479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8345097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8408728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544220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446515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613525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219919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8991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55813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54658258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27916205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37421251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EEBA7D68-C180-4C4F-A69B-85E951F34592}"/>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67884239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3525194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0522786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5271514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590263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12385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5715562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2203333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1016095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1114717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452913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8149DC72-878A-4840-BC9E-439DE2364509}"/>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73172841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522353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7289460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3322344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7336373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41757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92885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70621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5321970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3645319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565078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tags" Target="../tags/tag3.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tags" Target="../tags/tag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image" Target="../media/image3.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theme" Target="../theme/theme2.xml"/><Relationship Id="rId8" Type="http://schemas.openxmlformats.org/officeDocument/2006/relationships/slideLayout" Target="../slideLayouts/slideLayout24.xml"/><Relationship Id="rId51" Type="http://schemas.openxmlformats.org/officeDocument/2006/relationships/tags" Target="../tags/tag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1" Type="http://schemas.openxmlformats.org/officeDocument/2006/relationships/slideLayout" Target="../slideLayouts/slideLayout17.xml"/><Relationship Id="rId6"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tags" Target="../tags/tag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theme" Target="../theme/theme3.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image" Target="../media/image3.emf"/><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tags" Target="../tags/tag7.xml"/><Relationship Id="rId8" Type="http://schemas.openxmlformats.org/officeDocument/2006/relationships/slideLayout" Target="../slideLayouts/slideLayout71.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tags" Target="../tags/tag5.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1" Type="http://schemas.openxmlformats.org/officeDocument/2006/relationships/slideLayout" Target="../slideLayouts/slideLayout64.xml"/><Relationship Id="rId6"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8"/>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roduction to the Query Store</a:t>
            </a:r>
          </a:p>
        </p:txBody>
      </p:sp>
    </p:spTree>
    <p:extLst>
      <p:ext uri="{BB962C8B-B14F-4D97-AF65-F5344CB8AC3E}">
        <p14:creationId xmlns:p14="http://schemas.microsoft.com/office/powerpoint/2010/main" val="65110609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00490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903" r:id="rId47"/>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0819696"/>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3898" r:id="rId40"/>
    <p:sldLayoutId id="2147483899" r:id="rId41"/>
    <p:sldLayoutId id="2147483900" r:id="rId42"/>
    <p:sldLayoutId id="2147483901" r:id="rId43"/>
    <p:sldLayoutId id="2147483902"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jpg"/><Relationship Id="rId4" Type="http://schemas.openxmlformats.org/officeDocument/2006/relationships/image" Target="../media/image10.png"/><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30.xml"/><Relationship Id="rId7" Type="http://schemas.openxmlformats.org/officeDocument/2006/relationships/diagramQuickStyle" Target="../diagrams/quickStyle1.xml"/><Relationship Id="rId2" Type="http://schemas.openxmlformats.org/officeDocument/2006/relationships/customXml" Target="../../customXml/item4.xml"/><Relationship Id="rId1" Type="http://schemas.openxmlformats.org/officeDocument/2006/relationships/tags" Target="../tags/tag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notesSlide" Target="../notesSlides/notesSlide2.xml"/><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30.xml"/><Relationship Id="rId7" Type="http://schemas.openxmlformats.org/officeDocument/2006/relationships/diagramQuickStyle" Target="../diagrams/quickStyle2.xml"/><Relationship Id="rId2" Type="http://schemas.openxmlformats.org/officeDocument/2006/relationships/customXml" Target="../../customXml/item8.xml"/><Relationship Id="rId1" Type="http://schemas.openxmlformats.org/officeDocument/2006/relationships/tags" Target="../tags/tag9.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3.xml"/><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30.xml"/><Relationship Id="rId7" Type="http://schemas.openxmlformats.org/officeDocument/2006/relationships/diagramQuickStyle" Target="../diagrams/quickStyle3.xml"/><Relationship Id="rId2" Type="http://schemas.openxmlformats.org/officeDocument/2006/relationships/customXml" Target="../../customXml/item11.xml"/><Relationship Id="rId1" Type="http://schemas.openxmlformats.org/officeDocument/2006/relationships/tags" Target="../tags/tag10.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4.xml"/><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1.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9.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55801" y="2093787"/>
            <a:ext cx="5199473" cy="3693319"/>
          </a:xfrm>
        </p:spPr>
        <p:txBody>
          <a:bodyPr/>
          <a:lstStyle/>
          <a:p>
            <a:pPr algn="ctr"/>
            <a:r>
              <a:rPr lang="en-US" dirty="0"/>
              <a:t>Activate Performance Tuning and Optimization</a:t>
            </a:r>
            <a:br>
              <a:rPr lang="en-US" dirty="0"/>
            </a:br>
            <a:br>
              <a:rPr lang="en-US" dirty="0"/>
            </a:br>
            <a:br>
              <a:rPr lang="en-US" dirty="0"/>
            </a:br>
            <a:r>
              <a:rPr lang="en-US" dirty="0"/>
              <a:t>County of Fresno</a:t>
            </a:r>
            <a:br>
              <a:rPr lang="en-US" dirty="0"/>
            </a:br>
            <a:r>
              <a:rPr lang="en-US" dirty="0"/>
              <a:t>August 16</a:t>
            </a:r>
            <a:r>
              <a:rPr lang="en-US" baseline="30000" dirty="0"/>
              <a:t>th</a:t>
            </a:r>
            <a:r>
              <a:rPr lang="en-US" dirty="0"/>
              <a:t> – 18</a:t>
            </a:r>
            <a:r>
              <a:rPr lang="en-US" baseline="30000" dirty="0"/>
              <a:t>th</a:t>
            </a:r>
            <a:br>
              <a:rPr lang="en-US" baseline="30000" dirty="0"/>
            </a:b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5549386"/>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5187668"/>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652268" y="1369838"/>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231" y="1716041"/>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5179325"/>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5166444"/>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15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Agenda Day 1</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180900718"/>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397566585"/>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2 </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3293322738"/>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4505881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3</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4050752762"/>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45311848"/>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c328151a-ce6b-47fd-89fa-845a0dd837d1"/>
  <p:tag name="MIO_EKGUID" val="24314d8a-b69e-43cc-accd-5d0fcc7e79dc"/>
  <p:tag name="MIO_UPDATE" val="True"/>
  <p:tag name="MIO_VERSION" val="02.12.2019 14:58:10"/>
  <p:tag name="MIO_DBID" val="12b0c59e-2253-4124-a5e9-470adf4cb168"/>
  <p:tag name="MIO_LASTDOWNLOADED" val="24.01.2020 05:39:40"/>
  <p:tag name="MIO_OBJECTNAME" val="Agenda Day 3"/>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ccca499f-6031-4249-9be5-05f0778e93f9"/>
  <p:tag name="MIO_EKGUID" val="4353de26-2592-4dae-b07b-ed26aeeb437e"/>
  <p:tag name="MIO_UPDATE" val="True"/>
  <p:tag name="MIO_VERSION" val="02.12.2019 14:58:10"/>
  <p:tag name="MIO_DBID" val="12b0c59e-2253-4124-a5e9-470adf4cb168"/>
  <p:tag name="MIO_LASTDOWNLOADED" val="24.01.2020 05:39:40"/>
  <p:tag name="MIO_OBJECTNAME" val="Agenda Day 2"/>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C5255A8D-0C00-4B8A-84C8-2D1E3BE522D5}" vid="{26D3A1E9-793B-4D33-BC1E-F8CD39BEFB35}"/>
    </a:ext>
  </a:extLst>
</a:theme>
</file>

<file path=ppt/theme/theme3.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2.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5.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2274A60-1BB2-4B7C-B837-1F17CDA5AFC5}">
  <ds:schemaRefs>
    <ds:schemaRef ds:uri="Strauss.PersonalizationDefinition"/>
  </ds:schemaRefs>
</ds:datastoreItem>
</file>

<file path=customXml/itemProps10.xml><?xml version="1.0" encoding="utf-8"?>
<ds:datastoreItem xmlns:ds="http://schemas.openxmlformats.org/officeDocument/2006/customXml" ds:itemID="{D90DEB8C-C00E-4B1C-B45B-737A9292CE09}">
  <ds:schemaRefs>
    <ds:schemaRef ds:uri="Strauss.PersonalizationDefinition"/>
  </ds:schemaRefs>
</ds:datastoreItem>
</file>

<file path=customXml/itemProps11.xml><?xml version="1.0" encoding="utf-8"?>
<ds:datastoreItem xmlns:ds="http://schemas.openxmlformats.org/officeDocument/2006/customXml" ds:itemID="{5E06C96E-CC18-4EC4-9562-123609EAD6EA}">
  <ds:schemaRefs>
    <ds:schemaRef ds:uri="Strauss.PersonalizationDefinition"/>
  </ds:schemaRefs>
</ds:datastoreItem>
</file>

<file path=customXml/itemProps12.xml><?xml version="1.0" encoding="utf-8"?>
<ds:datastoreItem xmlns:ds="http://schemas.openxmlformats.org/officeDocument/2006/customXml" ds:itemID="{27B871C0-5D7E-44C4-9AE5-831CC5C914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xml><?xml version="1.0" encoding="utf-8"?>
<ds:datastoreItem xmlns:ds="http://schemas.openxmlformats.org/officeDocument/2006/customXml" ds:itemID="{38460639-82D3-47DD-9DC7-3EA280D46F3A}">
  <ds:schemaRefs>
    <ds:schemaRef ds:uri="Strauss.PersonalizationDefinition"/>
  </ds:schemaRefs>
</ds:datastoreItem>
</file>

<file path=customXml/itemProps14.xml><?xml version="1.0" encoding="utf-8"?>
<ds:datastoreItem xmlns:ds="http://schemas.openxmlformats.org/officeDocument/2006/customXml" ds:itemID="{6B2F7B94-2B12-4A65-964B-9372138E0DC1}">
  <ds:schemaRefs>
    <ds:schemaRef ds:uri="Strauss.PersonalizationDefinition"/>
  </ds:schemaRefs>
</ds:datastoreItem>
</file>

<file path=customXml/itemProps15.xml><?xml version="1.0" encoding="utf-8"?>
<ds:datastoreItem xmlns:ds="http://schemas.openxmlformats.org/officeDocument/2006/customXml" ds:itemID="{C412598E-BF43-4F55-B1FB-DC8EF944E888}">
  <ds:schemaRef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http://purl.org/dc/elements/1.1/"/>
    <ds:schemaRef ds:uri="b66b6bb9-0c3b-4baf-b7e0-24038b18f231"/>
    <ds:schemaRef ds:uri="http://schemas.microsoft.com/office/2006/metadata/properties"/>
    <ds:schemaRef ds:uri="0b15a96f-9efd-4f0c-b199-c53b2a01cb9d"/>
    <ds:schemaRef ds:uri="http://schemas.microsoft.com/sharepoint/v3"/>
    <ds:schemaRef ds:uri="http://www.w3.org/XML/1998/namespace"/>
  </ds:schemaRefs>
</ds:datastoreItem>
</file>

<file path=customXml/itemProps2.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3.xml><?xml version="1.0" encoding="utf-8"?>
<ds:datastoreItem xmlns:ds="http://schemas.openxmlformats.org/officeDocument/2006/customXml" ds:itemID="{E163F619-7E5B-423F-B926-CDF6A9A23149}">
  <ds:schemaRefs>
    <ds:schemaRef ds:uri="Strauss.PersonalizationDefinition"/>
  </ds:schemaRefs>
</ds:datastoreItem>
</file>

<file path=customXml/itemProps4.xml><?xml version="1.0" encoding="utf-8"?>
<ds:datastoreItem xmlns:ds="http://schemas.openxmlformats.org/officeDocument/2006/customXml" ds:itemID="{5288D834-DB30-4721-8C65-DF36F74AA0B8}">
  <ds:schemaRefs>
    <ds:schemaRef ds:uri="Strauss.PersonalizationDefinition"/>
  </ds:schemaRefs>
</ds:datastoreItem>
</file>

<file path=customXml/itemProps5.xml><?xml version="1.0" encoding="utf-8"?>
<ds:datastoreItem xmlns:ds="http://schemas.openxmlformats.org/officeDocument/2006/customXml" ds:itemID="{6F485757-9F3C-4A1E-9E86-E1C1551910BA}">
  <ds:schemaRefs>
    <ds:schemaRef ds:uri="Strauss.PersonalizationDefinition"/>
  </ds:schemaRefs>
</ds:datastoreItem>
</file>

<file path=customXml/itemProps6.xml><?xml version="1.0" encoding="utf-8"?>
<ds:datastoreItem xmlns:ds="http://schemas.openxmlformats.org/officeDocument/2006/customXml" ds:itemID="{DF333A1B-0A9C-4DA8-ADAB-4378B69FDC48}">
  <ds:schemaRefs>
    <ds:schemaRef ds:uri="Strauss.PersonalizationDefinition"/>
  </ds:schemaRefs>
</ds:datastoreItem>
</file>

<file path=customXml/itemProps7.xml><?xml version="1.0" encoding="utf-8"?>
<ds:datastoreItem xmlns:ds="http://schemas.openxmlformats.org/officeDocument/2006/customXml" ds:itemID="{D959A07B-C49D-428D-B914-113B444FB5E7}">
  <ds:schemaRefs>
    <ds:schemaRef ds:uri="Strauss.PersonalizationDefinition"/>
  </ds:schemaRefs>
</ds:datastoreItem>
</file>

<file path=customXml/itemProps8.xml><?xml version="1.0" encoding="utf-8"?>
<ds:datastoreItem xmlns:ds="http://schemas.openxmlformats.org/officeDocument/2006/customXml" ds:itemID="{73B6D0A6-C48D-49BD-A439-3788E7E33FC9}">
  <ds:schemaRefs>
    <ds:schemaRef ds:uri="Strauss.PersonalizationDefinition"/>
  </ds:schemaRefs>
</ds:datastoreItem>
</file>

<file path=customXml/itemProps9.xml><?xml version="1.0" encoding="utf-8"?>
<ds:datastoreItem xmlns:ds="http://schemas.openxmlformats.org/officeDocument/2006/customXml" ds:itemID="{AF760E59-97AE-4538-B6A6-5DAE18A6CA97}">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558</TotalTime>
  <Words>214</Words>
  <Application>Microsoft Office PowerPoint</Application>
  <PresentationFormat>Widescreen</PresentationFormat>
  <Paragraphs>52</Paragraphs>
  <Slides>7</Slides>
  <Notes>6</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7</vt:i4>
      </vt:variant>
    </vt:vector>
  </HeadingPairs>
  <TitlesOfParts>
    <vt:vector size="20" baseType="lpstr">
      <vt:lpstr>&amp;quot</vt:lpstr>
      <vt:lpstr>Arial</vt:lpstr>
      <vt:lpstr>Calibri</vt:lpstr>
      <vt:lpstr>Calibri Light</vt:lpstr>
      <vt:lpstr>Century Gothic</vt:lpstr>
      <vt:lpstr>Comic Sans MS</vt:lpstr>
      <vt:lpstr>Consolas</vt:lpstr>
      <vt:lpstr>Segoe UI</vt:lpstr>
      <vt:lpstr>Segoe UI Semibold</vt:lpstr>
      <vt:lpstr>Wingdings</vt:lpstr>
      <vt:lpstr>PASS 2013_SpeakerTemplate_Final</vt:lpstr>
      <vt:lpstr>Workshop</vt:lpstr>
      <vt:lpstr>1_Dark Blue</vt:lpstr>
      <vt:lpstr>Activate Performance Tuning and Optimization   County of Fresno August 16th – 18th  </vt:lpstr>
      <vt:lpstr>PowerPoint Presentation</vt:lpstr>
      <vt:lpstr>Agenda Day 1</vt:lpstr>
      <vt:lpstr>Agenda Day 2 </vt:lpstr>
      <vt:lpstr>Agenda Day 3</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37</cp:revision>
  <dcterms:created xsi:type="dcterms:W3CDTF">2019-01-14T09:17:39Z</dcterms:created>
  <dcterms:modified xsi:type="dcterms:W3CDTF">2022-08-17T04:0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vidt@microsoft.com</vt:lpwstr>
  </property>
  <property fmtid="{D5CDD505-2E9C-101B-9397-08002B2CF9AE}" pid="6" name="MSIP_Label_f42aa342-8706-4288-bd11-ebb85995028c_SetDate">
    <vt:lpwstr>2019-09-20T09:39:24.409751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05c0ddf-f806-4af5-8105-3c14fbe37948</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